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5" r:id="rId1"/>
    <p:sldMasterId id="2147484725" r:id="rId2"/>
  </p:sldMasterIdLst>
  <p:notesMasterIdLst>
    <p:notesMasterId r:id="rId14"/>
  </p:notesMasterIdLst>
  <p:handoutMasterIdLst>
    <p:handoutMasterId r:id="rId15"/>
  </p:handoutMasterIdLst>
  <p:sldIdLst>
    <p:sldId id="507" r:id="rId3"/>
    <p:sldId id="631" r:id="rId4"/>
    <p:sldId id="626" r:id="rId5"/>
    <p:sldId id="638" r:id="rId6"/>
    <p:sldId id="639" r:id="rId7"/>
    <p:sldId id="642" r:id="rId8"/>
    <p:sldId id="643" r:id="rId9"/>
    <p:sldId id="644" r:id="rId10"/>
    <p:sldId id="640" r:id="rId11"/>
    <p:sldId id="641" r:id="rId12"/>
    <p:sldId id="621" r:id="rId13"/>
  </p:sldIdLst>
  <p:sldSz cx="9144000" cy="6858000" type="screen4x3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umimoji="1"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umimoji="1"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umimoji="1"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umimoji="1"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986"/>
    <a:srgbClr val="003399"/>
    <a:srgbClr val="FBE4D9"/>
    <a:srgbClr val="00DAD5"/>
    <a:srgbClr val="069E9E"/>
    <a:srgbClr val="006666"/>
    <a:srgbClr val="C05350"/>
    <a:srgbClr val="FAEC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Средний стиль 1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883" autoAdjust="0"/>
  </p:normalViewPr>
  <p:slideViewPr>
    <p:cSldViewPr>
      <p:cViewPr>
        <p:scale>
          <a:sx n="89" d="100"/>
          <a:sy n="89" d="100"/>
        </p:scale>
        <p:origin x="-2274" y="-522"/>
      </p:cViewPr>
      <p:guideLst>
        <p:guide orient="horz" pos="2115"/>
        <p:guide pos="2880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user\Documents\&#1055;&#1088;&#1077;&#1079;&#1077;&#1085;&#1090;&#1072;&#1094;&#1080;&#1080;\2019\&#1056;&#1072;&#1073;_&#1084;&#1072;&#1090;\&#1050;&#1085;&#1080;&#1075;&#1072;1.xls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user\Documents\&#1055;&#1088;&#1077;&#1079;&#1077;&#1085;&#1090;&#1072;&#1094;&#1080;&#1080;\2020\&#1088;&#1072;&#1073;_&#1084;&#1072;&#1090;\&#1050;&#1085;&#1080;&#1075;&#1072;1.xls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0102578765222431"/>
          <c:y val="2.8252405949256341E-2"/>
          <c:w val="0.85270547079571102"/>
          <c:h val="0.61541365680886406"/>
        </c:manualLayout>
      </c:layout>
      <c:lineChart>
        <c:grouping val="standard"/>
        <c:varyColors val="0"/>
        <c:ser>
          <c:idx val="0"/>
          <c:order val="0"/>
          <c:tx>
            <c:strRef>
              <c:f>Лист5!$A$8</c:f>
              <c:strCache>
                <c:ptCount val="1"/>
                <c:pt idx="0">
                  <c:v>2019 год</c:v>
                </c:pt>
              </c:strCache>
            </c:strRef>
          </c:tx>
          <c:spPr>
            <a:ln w="44450"/>
          </c:spPr>
          <c:marker>
            <c:symbol val="diamond"/>
            <c:size val="14"/>
          </c:marker>
          <c:dLbls>
            <c:txPr>
              <a:bodyPr/>
              <a:lstStyle/>
              <a:p>
                <a:pPr>
                  <a:defRPr sz="13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5!$B$7:$I$7</c:f>
              <c:strCache>
                <c:ptCount val="8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 </c:v>
                </c:pt>
                <c:pt idx="7">
                  <c:v>август</c:v>
                </c:pt>
              </c:strCache>
            </c:strRef>
          </c:cat>
          <c:val>
            <c:numRef>
              <c:f>Лист5!$B$8:$I$8</c:f>
              <c:numCache>
                <c:formatCode>General</c:formatCode>
                <c:ptCount val="8"/>
                <c:pt idx="0">
                  <c:v>7.9</c:v>
                </c:pt>
                <c:pt idx="1">
                  <c:v>8.8000000000000007</c:v>
                </c:pt>
                <c:pt idx="2">
                  <c:v>9.1</c:v>
                </c:pt>
                <c:pt idx="3">
                  <c:v>8.9</c:v>
                </c:pt>
                <c:pt idx="4">
                  <c:v>8.4</c:v>
                </c:pt>
                <c:pt idx="5">
                  <c:v>8.1999999999999993</c:v>
                </c:pt>
                <c:pt idx="6">
                  <c:v>8.1</c:v>
                </c:pt>
                <c:pt idx="7">
                  <c:v>7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Лист5!$A$9</c:f>
              <c:strCache>
                <c:ptCount val="1"/>
                <c:pt idx="0">
                  <c:v>2020 год</c:v>
                </c:pt>
              </c:strCache>
            </c:strRef>
          </c:tx>
          <c:spPr>
            <a:ln w="44450"/>
          </c:spPr>
          <c:dLbls>
            <c:txPr>
              <a:bodyPr/>
              <a:lstStyle/>
              <a:p>
                <a:pPr>
                  <a:defRPr sz="13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5!$B$7:$I$7</c:f>
              <c:strCache>
                <c:ptCount val="8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 </c:v>
                </c:pt>
                <c:pt idx="7">
                  <c:v>август</c:v>
                </c:pt>
              </c:strCache>
            </c:strRef>
          </c:cat>
          <c:val>
            <c:numRef>
              <c:f>Лист5!$B$9:$I$9</c:f>
              <c:numCache>
                <c:formatCode>General</c:formatCode>
                <c:ptCount val="8"/>
                <c:pt idx="0">
                  <c:v>7.5</c:v>
                </c:pt>
                <c:pt idx="1">
                  <c:v>7.7</c:v>
                </c:pt>
                <c:pt idx="2">
                  <c:v>7.7</c:v>
                </c:pt>
                <c:pt idx="3">
                  <c:v>16.600000000000001</c:v>
                </c:pt>
                <c:pt idx="4">
                  <c:v>23.5</c:v>
                </c:pt>
                <c:pt idx="5">
                  <c:v>28.5</c:v>
                </c:pt>
                <c:pt idx="6">
                  <c:v>29.7</c:v>
                </c:pt>
                <c:pt idx="7">
                  <c:v>30.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4637312"/>
        <c:axId val="88345984"/>
      </c:lineChart>
      <c:catAx>
        <c:axId val="11463731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ru-RU"/>
          </a:p>
        </c:txPr>
        <c:crossAx val="88345984"/>
        <c:crosses val="autoZero"/>
        <c:auto val="1"/>
        <c:lblAlgn val="ctr"/>
        <c:lblOffset val="100"/>
        <c:noMultiLvlLbl val="0"/>
      </c:catAx>
      <c:valAx>
        <c:axId val="8834598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14637312"/>
        <c:crosses val="autoZero"/>
        <c:crossBetween val="between"/>
      </c:valAx>
      <c:spPr>
        <a:solidFill>
          <a:schemeClr val="bg1">
            <a:alpha val="51000"/>
          </a:schemeClr>
        </a:solidFill>
      </c:spPr>
    </c:plotArea>
    <c:legend>
      <c:legendPos val="b"/>
      <c:layout>
        <c:manualLayout>
          <c:xMode val="edge"/>
          <c:yMode val="edge"/>
          <c:x val="0.25524552461274602"/>
          <c:y val="0.87332089911228683"/>
          <c:w val="0.58487594049553182"/>
          <c:h val="9.202029528494779E-2"/>
        </c:manualLayout>
      </c:layout>
      <c:overlay val="0"/>
      <c:txPr>
        <a:bodyPr/>
        <a:lstStyle/>
        <a:p>
          <a:pPr>
            <a:defRPr sz="1300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"/>
          <c:y val="3.0092592592592591E-2"/>
          <c:w val="0.5541230026663978"/>
          <c:h val="0.83796296296296291"/>
        </c:manualLayout>
      </c:layout>
      <c:pie3DChart>
        <c:varyColors val="1"/>
        <c:ser>
          <c:idx val="0"/>
          <c:order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45,</a:t>
                    </a:r>
                    <a:r>
                      <a:rPr lang="ru-RU" dirty="0" smtClean="0"/>
                      <a:t>1 </a:t>
                    </a:r>
                    <a:r>
                      <a:rPr lang="en-US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44,9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10 </a:t>
                    </a:r>
                    <a:r>
                      <a:rPr lang="en-US" dirty="0" smtClean="0"/>
                      <a:t>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spPr>
              <a:solidFill>
                <a:sysClr val="window" lastClr="FFFFFF"/>
              </a:solidFill>
              <a:ln>
                <a:solidFill>
                  <a:sysClr val="windowText" lastClr="000000">
                    <a:lumMod val="75000"/>
                    <a:lumOff val="25000"/>
                  </a:sysClr>
                </a:solidFill>
              </a:ln>
            </c:spPr>
            <c:txPr>
              <a:bodyPr/>
              <a:lstStyle/>
              <a:p>
                <a:pPr>
                  <a:defRPr sz="14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Лист5!$A$17:$A$19</c:f>
              <c:strCache>
                <c:ptCount val="3"/>
                <c:pt idx="0">
                  <c:v>В минимальном размере</c:v>
                </c:pt>
                <c:pt idx="1">
                  <c:v>В максимальном размере </c:v>
                </c:pt>
                <c:pt idx="2">
                  <c:v>В процентном отношении к заработной плате</c:v>
                </c:pt>
              </c:strCache>
            </c:strRef>
          </c:cat>
          <c:val>
            <c:numRef>
              <c:f>Лист5!$B$17:$B$19</c:f>
              <c:numCache>
                <c:formatCode>0.00%</c:formatCode>
                <c:ptCount val="3"/>
                <c:pt idx="0">
                  <c:v>0.45200000000000001</c:v>
                </c:pt>
                <c:pt idx="1">
                  <c:v>0.44900000000000001</c:v>
                </c:pt>
                <c:pt idx="2">
                  <c:v>9.900000000000000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59261378201265935"/>
          <c:y val="8.9159375911344416E-2"/>
          <c:w val="0.40738626421697294"/>
          <c:h val="0.71519976669582974"/>
        </c:manualLayout>
      </c:layout>
      <c:overlay val="0"/>
      <c:txPr>
        <a:bodyPr/>
        <a:lstStyle/>
        <a:p>
          <a:pPr>
            <a:defRPr sz="1300">
              <a:latin typeface="Arial" panose="020B0604020202020204" pitchFamily="34" charset="0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1001" tIns="45501" rIns="91001" bIns="45501" rtlCol="0"/>
          <a:lstStyle>
            <a:lvl1pPr algn="l" eaLnBrk="0" hangingPunct="0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1001" tIns="45501" rIns="91001" bIns="45501" rtlCol="0"/>
          <a:lstStyle>
            <a:lvl1pPr algn="r" eaLnBrk="0" hangingPunct="0">
              <a:defRPr sz="1200">
                <a:cs typeface="Arial" charset="0"/>
              </a:defRPr>
            </a:lvl1pPr>
          </a:lstStyle>
          <a:p>
            <a:pPr>
              <a:defRPr/>
            </a:pPr>
            <a:fld id="{CD288EB4-7351-4B98-A18F-054D583B0181}" type="datetimeFigureOut">
              <a:rPr lang="ru-RU"/>
              <a:pPr>
                <a:defRPr/>
              </a:pPr>
              <a:t>20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1338"/>
            <a:ext cx="2946400" cy="495300"/>
          </a:xfrm>
          <a:prstGeom prst="rect">
            <a:avLst/>
          </a:prstGeom>
        </p:spPr>
        <p:txBody>
          <a:bodyPr vert="horz" lIns="91001" tIns="45501" rIns="91001" bIns="45501" rtlCol="0" anchor="b"/>
          <a:lstStyle>
            <a:lvl1pPr algn="l" eaLnBrk="0" hangingPunct="0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31338"/>
            <a:ext cx="2946400" cy="495300"/>
          </a:xfrm>
          <a:prstGeom prst="rect">
            <a:avLst/>
          </a:prstGeom>
        </p:spPr>
        <p:txBody>
          <a:bodyPr vert="horz" wrap="square" lIns="91001" tIns="45501" rIns="91001" bIns="45501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cs typeface="Arial" charset="0"/>
              </a:defRPr>
            </a:lvl1pPr>
          </a:lstStyle>
          <a:p>
            <a:pPr>
              <a:defRPr/>
            </a:pPr>
            <a:fld id="{7CD826F1-A1C8-48EF-88B9-CBCC3B73608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76392925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0946" tIns="45475" rIns="90946" bIns="4547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wrap="square" lIns="90946" tIns="45475" rIns="90946" bIns="45475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2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1FC89E7-67D7-4BE2-879E-A82C4C9FFFB7}" type="datetimeFigureOut">
              <a:rPr lang="ru-RU" altLang="ru-RU"/>
              <a:pPr>
                <a:defRPr/>
              </a:pPr>
              <a:t>20.10.2020</a:t>
            </a:fld>
            <a:endParaRPr lang="ru-RU" alt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5988" y="744538"/>
            <a:ext cx="496570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46" tIns="45475" rIns="90946" bIns="45475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8813"/>
          </a:xfrm>
          <a:prstGeom prst="rect">
            <a:avLst/>
          </a:prstGeom>
        </p:spPr>
        <p:txBody>
          <a:bodyPr vert="horz" wrap="square" lIns="90946" tIns="45475" rIns="90946" bIns="4547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1338"/>
            <a:ext cx="2946400" cy="495300"/>
          </a:xfrm>
          <a:prstGeom prst="rect">
            <a:avLst/>
          </a:prstGeom>
        </p:spPr>
        <p:txBody>
          <a:bodyPr vert="horz" lIns="90946" tIns="45475" rIns="90946" bIns="4547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31338"/>
            <a:ext cx="2946400" cy="495300"/>
          </a:xfrm>
          <a:prstGeom prst="rect">
            <a:avLst/>
          </a:prstGeom>
        </p:spPr>
        <p:txBody>
          <a:bodyPr vert="horz" wrap="square" lIns="90946" tIns="45475" rIns="90946" bIns="4547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200">
                <a:cs typeface="Arial" charset="0"/>
              </a:defRPr>
            </a:lvl1pPr>
          </a:lstStyle>
          <a:p>
            <a:pPr>
              <a:defRPr/>
            </a:pPr>
            <a:fld id="{B63E63B1-8083-4ECD-9AEA-4D841A0E65F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8897871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charset="0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charset="0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charset="0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charset="0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Arial" charset="0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843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cs typeface="Arial" charset="0"/>
            </a:endParaRPr>
          </a:p>
        </p:txBody>
      </p:sp>
      <p:sp>
        <p:nvSpPr>
          <p:cNvPr id="1843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1363" indent="-284163" defTabSz="91281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1413" indent="-227013" defTabSz="91281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598613" indent="-227013" defTabSz="91281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5813" indent="-227013" defTabSz="91281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3013" indent="-227013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0213" indent="-227013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7413" indent="-227013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4613" indent="-227013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2872C1E5-16DF-4818-BD98-070AE0BF9FD9}" type="slidenum">
              <a:rPr kumimoji="0" lang="ru-RU" altLang="ru-RU" smtClean="0"/>
              <a:pPr eaLnBrk="1" hangingPunct="1">
                <a:spcBef>
                  <a:spcPct val="0"/>
                </a:spcBef>
              </a:pPr>
              <a:t>1</a:t>
            </a:fld>
            <a:endParaRPr kumimoji="0" lang="ru-RU" altLang="ru-RU" smtClean="0"/>
          </a:p>
        </p:txBody>
      </p:sp>
      <p:sp>
        <p:nvSpPr>
          <p:cNvPr id="18437" name="Дата 1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38188" indent="-28416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36650" indent="-22701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592263" indent="-22701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46288" indent="-227013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03488" indent="-2270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60688" indent="-2270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17888" indent="-2270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75088" indent="-227013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4FBF4BC7-76B8-47AB-A150-6292FB2602D9}" type="datetime1">
              <a:rPr kumimoji="0" lang="ru-RU" altLang="ru-RU" smtClean="0"/>
              <a:pPr eaLnBrk="1" hangingPunct="1">
                <a:spcBef>
                  <a:spcPct val="0"/>
                </a:spcBef>
              </a:pPr>
              <a:t>20.10.2020</a:t>
            </a:fld>
            <a:endParaRPr kumimoji="0" lang="ru-RU" alt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cs typeface="Arial" charset="0"/>
            </a:endParaRPr>
          </a:p>
        </p:txBody>
      </p:sp>
      <p:sp>
        <p:nvSpPr>
          <p:cNvPr id="1946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36600" indent="-28257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35063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590675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44700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019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591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163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735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573F1AAA-3B66-4656-9672-6CF75A581B02}" type="slidenum">
              <a:rPr kumimoji="0" lang="ru-RU" altLang="ru-RU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2</a:t>
            </a:fld>
            <a:endParaRPr kumimoji="0" lang="ru-RU" altLang="ru-RU" smtClean="0">
              <a:solidFill>
                <a:srgbClr val="000000"/>
              </a:solidFill>
            </a:endParaRPr>
          </a:p>
        </p:txBody>
      </p:sp>
      <p:sp>
        <p:nvSpPr>
          <p:cNvPr id="19461" name="Дата 1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36600" indent="-28257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35063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590675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44700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019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591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163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735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BD0C68FA-E63B-4CB0-82BB-BB485D604E3B}" type="datetime1">
              <a:rPr kumimoji="0" lang="ru-RU" altLang="ru-RU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20.10.2020</a:t>
            </a:fld>
            <a:endParaRPr kumimoji="0" lang="ru-RU" alt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cs typeface="Arial" charset="0"/>
            </a:endParaRPr>
          </a:p>
        </p:txBody>
      </p:sp>
      <p:sp>
        <p:nvSpPr>
          <p:cNvPr id="2048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36600" indent="-28257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35063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590675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44700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019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591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163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735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C05C46F5-EB6B-4685-B6C3-040DCA2A1103}" type="slidenum">
              <a:rPr kumimoji="0" lang="ru-RU" altLang="ru-RU" smtClean="0"/>
              <a:pPr eaLnBrk="1" hangingPunct="1">
                <a:spcBef>
                  <a:spcPct val="0"/>
                </a:spcBef>
              </a:pPr>
              <a:t>3</a:t>
            </a:fld>
            <a:endParaRPr kumimoji="0" lang="ru-RU" altLang="ru-RU" smtClean="0"/>
          </a:p>
        </p:txBody>
      </p:sp>
      <p:sp>
        <p:nvSpPr>
          <p:cNvPr id="20485" name="Дата 1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36600" indent="-28257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35063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590675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44700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019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591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163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735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DEE7796-3415-424F-B0DD-E54CEAECED56}" type="datetime1">
              <a:rPr kumimoji="0" lang="ru-RU" altLang="ru-RU" smtClean="0"/>
              <a:pPr eaLnBrk="1" hangingPunct="1">
                <a:spcBef>
                  <a:spcPct val="0"/>
                </a:spcBef>
              </a:pPr>
              <a:t>20.10.2020</a:t>
            </a:fld>
            <a:endParaRPr kumimoji="0" lang="ru-RU" altLang="ru-RU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cs typeface="Arial" charset="0"/>
            </a:endParaRPr>
          </a:p>
        </p:txBody>
      </p:sp>
      <p:sp>
        <p:nvSpPr>
          <p:cNvPr id="215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36600" indent="-28257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35063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590675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44700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019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591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163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735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94B56487-5047-4910-95D5-57436C0EED7C}" type="slidenum">
              <a:rPr kumimoji="0" lang="ru-RU" altLang="ru-RU" smtClean="0"/>
              <a:pPr eaLnBrk="1" hangingPunct="1">
                <a:spcBef>
                  <a:spcPct val="0"/>
                </a:spcBef>
              </a:pPr>
              <a:t>7</a:t>
            </a:fld>
            <a:endParaRPr kumimoji="0" lang="ru-RU" altLang="ru-RU" smtClean="0"/>
          </a:p>
        </p:txBody>
      </p:sp>
      <p:sp>
        <p:nvSpPr>
          <p:cNvPr id="21509" name="Дата 1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36600" indent="-28257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35063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590675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44700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019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591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163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735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AF13F735-74AA-46F6-B402-EAEF7EC84A67}" type="datetime1">
              <a:rPr kumimoji="0" lang="ru-RU" altLang="ru-RU" smtClean="0"/>
              <a:pPr eaLnBrk="1" hangingPunct="1">
                <a:spcBef>
                  <a:spcPct val="0"/>
                </a:spcBef>
              </a:pPr>
              <a:t>20.10.2020</a:t>
            </a:fld>
            <a:endParaRPr kumimoji="0" lang="ru-RU" altLang="ru-RU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cs typeface="Arial" charset="0"/>
            </a:endParaRPr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fld id="{C2ABF299-7128-4AB1-BF6F-A35C330D78D5}" type="slidenum">
              <a:rPr kumimoji="0" lang="ru-RU" altLang="ru-RU" smtClean="0"/>
              <a:pPr eaLnBrk="1" hangingPunct="1"/>
              <a:t>9</a:t>
            </a:fld>
            <a:endParaRPr kumimoji="0" lang="ru-RU" altLang="ru-RU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cs typeface="Arial" charset="0"/>
            </a:endParaRPr>
          </a:p>
        </p:txBody>
      </p:sp>
      <p:sp>
        <p:nvSpPr>
          <p:cNvPr id="2355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fld id="{BCF92C40-8A5E-4D47-9F8B-71C08217756A}" type="slidenum">
              <a:rPr kumimoji="0" lang="ru-RU" altLang="ru-RU" smtClean="0"/>
              <a:pPr eaLnBrk="1" hangingPunct="1"/>
              <a:t>10</a:t>
            </a:fld>
            <a:endParaRPr kumimoji="0" lang="ru-RU" altLang="ru-RU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7575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cs typeface="Arial" charset="0"/>
            </a:endParaRPr>
          </a:p>
        </p:txBody>
      </p:sp>
      <p:sp>
        <p:nvSpPr>
          <p:cNvPr id="2458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36600" indent="-28257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35063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590675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44700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019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591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163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735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8C94B5C3-D3DF-4466-9DBC-90475C3C79A4}" type="slidenum">
              <a:rPr kumimoji="0" lang="ru-RU" altLang="ru-RU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11</a:t>
            </a:fld>
            <a:endParaRPr kumimoji="0" lang="ru-RU" altLang="ru-RU" smtClean="0">
              <a:solidFill>
                <a:srgbClr val="000000"/>
              </a:solidFill>
            </a:endParaRPr>
          </a:p>
        </p:txBody>
      </p:sp>
      <p:sp>
        <p:nvSpPr>
          <p:cNvPr id="24581" name="Дата 1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36600" indent="-28257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35063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590675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44700" indent="-225425" eaLnBrk="0" hangingPunct="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019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591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163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73500" indent="-225425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2F2B4667-40FF-4BB4-A8C3-CC98AF5BD74C}" type="datetime1">
              <a:rPr kumimoji="0" lang="ru-RU" altLang="ru-RU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20.10.2020</a:t>
            </a:fld>
            <a:endParaRPr kumimoji="0" lang="ru-RU" altLang="ru-RU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58CBD0-5033-4ED8-9626-B6CD3ECE862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41214375"/>
      </p:ext>
    </p:extLst>
  </p:cSld>
  <p:clrMapOvr>
    <a:masterClrMapping/>
  </p:clrMapOvr>
  <p:transition spd="slow">
    <p:strips dir="l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E26F90-6774-40A8-9519-ED385FA562F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45531719"/>
      </p:ext>
    </p:extLst>
  </p:cSld>
  <p:clrMapOvr>
    <a:masterClrMapping/>
  </p:clrMapOvr>
  <p:transition spd="slow">
    <p:strips dir="l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772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9A3D34-EB7C-45DD-B101-08873C760BB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97196955"/>
      </p:ext>
    </p:extLst>
  </p:cSld>
  <p:clrMapOvr>
    <a:masterClrMapping/>
  </p:clrMapOvr>
  <p:transition spd="slow">
    <p:strips dir="l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4763" y="0"/>
          <a:ext cx="149225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63" y="0"/>
                        <a:ext cx="149225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83099322"/>
      </p:ext>
    </p:extLst>
  </p:cSld>
  <p:clrMapOvr>
    <a:masterClrMapping/>
  </p:clrMapOvr>
  <p:transition spd="slow">
    <p:strips dir="l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142875" y="1125538"/>
            <a:ext cx="8858250" cy="5375275"/>
          </a:xfrm>
          <a:prstGeom prst="roundRect">
            <a:avLst>
              <a:gd name="adj" fmla="val 2081"/>
            </a:avLst>
          </a:prstGeom>
          <a:gradFill flip="none" rotWithShape="1">
            <a:gsLst>
              <a:gs pos="0">
                <a:srgbClr val="FFFFFF">
                  <a:shade val="100000"/>
                </a:srgbClr>
              </a:gs>
              <a:gs pos="98000">
                <a:srgbClr val="FFFFFF">
                  <a:shade val="100000"/>
                </a:srgbClr>
              </a:gs>
              <a:gs pos="99055">
                <a:srgbClr val="FFFFFF">
                  <a:shade val="93000"/>
                </a:srgbClr>
              </a:gs>
              <a:gs pos="100000">
                <a:srgbClr val="FFFFFF">
                  <a:shade val="70000"/>
                </a:srgbClr>
              </a:gs>
            </a:gsLst>
            <a:lin ang="5400000" scaled="1"/>
            <a:tileRect/>
          </a:gradFill>
          <a:ln w="2000" cap="rnd" cmpd="sng" algn="ctr">
            <a:solidFill>
              <a:srgbClr val="302F2C">
                <a:tint val="65000"/>
                <a:satMod val="120000"/>
              </a:srgbClr>
            </a:solidFill>
            <a:prstDash val="solid"/>
          </a:ln>
          <a:effectLst>
            <a:outerShdw blurRad="76200" dist="50800" dir="5400000" algn="tl" rotWithShape="0">
              <a:srgbClr val="000000">
                <a:alpha val="25000"/>
              </a:srgbClr>
            </a:out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>
              <a:defRPr/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Скругленный прямоугольник 2"/>
          <p:cNvSpPr/>
          <p:nvPr userDrawn="1"/>
        </p:nvSpPr>
        <p:spPr>
          <a:xfrm>
            <a:off x="2500313" y="0"/>
            <a:ext cx="6500812" cy="1001713"/>
          </a:xfrm>
          <a:prstGeom prst="roundRect">
            <a:avLst>
              <a:gd name="adj" fmla="val 10445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4" name="Picture 2" descr="http://www.gerb.info/images/yar.gi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5" y="71438"/>
            <a:ext cx="508000" cy="919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9"/>
          <p:cNvSpPr txBox="1">
            <a:spLocks noChangeArrowheads="1"/>
          </p:cNvSpPr>
          <p:nvPr userDrawn="1"/>
        </p:nvSpPr>
        <p:spPr bwMode="auto">
          <a:xfrm>
            <a:off x="754063" y="404813"/>
            <a:ext cx="14160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r" eaLnBrk="1" hangingPunct="1"/>
            <a:r>
              <a:rPr lang="ru-RU" altLang="ru-RU" sz="800">
                <a:solidFill>
                  <a:srgbClr val="000000"/>
                </a:solidFill>
              </a:rPr>
              <a:t>Департамент </a:t>
            </a:r>
          </a:p>
          <a:p>
            <a:pPr algn="r" eaLnBrk="1" hangingPunct="1"/>
            <a:r>
              <a:rPr lang="ru-RU" altLang="ru-RU" sz="800">
                <a:solidFill>
                  <a:srgbClr val="000000"/>
                </a:solidFill>
              </a:rPr>
              <a:t>государственной службы </a:t>
            </a:r>
          </a:p>
          <a:p>
            <a:pPr algn="r" eaLnBrk="1" hangingPunct="1"/>
            <a:r>
              <a:rPr lang="ru-RU" altLang="ru-RU" sz="800">
                <a:solidFill>
                  <a:srgbClr val="000000"/>
                </a:solidFill>
              </a:rPr>
              <a:t>занятости населения </a:t>
            </a:r>
          </a:p>
          <a:p>
            <a:pPr algn="r" eaLnBrk="1" hangingPunct="1"/>
            <a:r>
              <a:rPr lang="ru-RU" altLang="ru-RU" sz="800">
                <a:solidFill>
                  <a:srgbClr val="000000"/>
                </a:solidFill>
              </a:rPr>
              <a:t>Ярославской области</a:t>
            </a:r>
          </a:p>
        </p:txBody>
      </p:sp>
      <p:sp>
        <p:nvSpPr>
          <p:cNvPr id="6" name="Номер слайда 6"/>
          <p:cNvSpPr>
            <a:spLocks noGrp="1"/>
          </p:cNvSpPr>
          <p:nvPr>
            <p:ph type="sldNum" sz="quarter" idx="10"/>
          </p:nvPr>
        </p:nvSpPr>
        <p:spPr>
          <a:xfrm>
            <a:off x="8388350" y="6494463"/>
            <a:ext cx="457200" cy="363537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fld id="{E64188CF-E6E2-44F6-9ECB-5DF77BFA5DC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7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6011863" y="6494463"/>
            <a:ext cx="2286000" cy="363537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C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6602836"/>
      </p:ext>
    </p:extLst>
  </p:cSld>
  <p:clrMapOvr>
    <a:masterClrMapping/>
  </p:clrMapOvr>
  <p:transition spd="slow" advTm="3000">
    <p:wipe dir="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6D88D9-B46D-4A55-8E7C-257DBA47B3E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98055421"/>
      </p:ext>
    </p:extLst>
  </p:cSld>
  <p:clrMapOvr>
    <a:masterClrMapping/>
  </p:clrMapOvr>
  <p:transition spd="slow">
    <p:strips dir="l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A1EDF2-7821-408B-8681-FAD662A0AD1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80330519"/>
      </p:ext>
    </p:extLst>
  </p:cSld>
  <p:clrMapOvr>
    <a:masterClrMapping/>
  </p:clrMapOvr>
  <p:transition spd="slow">
    <p:strips dir="l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F99B47-942B-416F-B91D-703634BFD20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24818747"/>
      </p:ext>
    </p:extLst>
  </p:cSld>
  <p:clrMapOvr>
    <a:masterClrMapping/>
  </p:clrMapOvr>
  <p:transition spd="slow">
    <p:strips dir="l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1A2025-51BC-4455-A139-3D1275991D9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51766812"/>
      </p:ext>
    </p:extLst>
  </p:cSld>
  <p:clrMapOvr>
    <a:masterClrMapping/>
  </p:clrMapOvr>
  <p:transition spd="slow">
    <p:strips dir="l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7CC9FB-CC3C-4585-B30F-0C6CF35438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76205914"/>
      </p:ext>
    </p:extLst>
  </p:cSld>
  <p:clrMapOvr>
    <a:masterClrMapping/>
  </p:clrMapOvr>
  <p:transition spd="slow">
    <p:strips dir="l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1025BA-6D5A-46BF-ADE7-87346DC81A2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39083156"/>
      </p:ext>
    </p:extLst>
  </p:cSld>
  <p:clrMapOvr>
    <a:masterClrMapping/>
  </p:clrMapOvr>
  <p:transition spd="slow">
    <p:strips dir="l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9EAC78-3BCB-41AE-A866-55FA78116D8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30139124"/>
      </p:ext>
    </p:extLst>
  </p:cSld>
  <p:clrMapOvr>
    <a:masterClrMapping/>
  </p:clrMapOvr>
  <p:transition spd="slow">
    <p:strips dir="l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54F10B-A60D-43B1-99F0-91DF193A35D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6568890"/>
      </p:ext>
    </p:extLst>
  </p:cSld>
  <p:clrMapOvr>
    <a:masterClrMapping/>
  </p:clrMapOvr>
  <p:transition spd="slow">
    <p:strips dir="l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12115F-B982-4757-A390-CFC31DF2B77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8470725"/>
      </p:ext>
    </p:extLst>
  </p:cSld>
  <p:clrMapOvr>
    <a:masterClrMapping/>
  </p:clrMapOvr>
  <p:transition spd="slow">
    <p:strips dir="l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24E78E-8740-4114-BF08-03B1C561750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93291133"/>
      </p:ext>
    </p:extLst>
  </p:cSld>
  <p:clrMapOvr>
    <a:masterClrMapping/>
  </p:clrMapOvr>
  <p:transition spd="slow">
    <p:strips dir="l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30FB19-7675-41AB-A7BB-A384FE06355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51963552"/>
      </p:ext>
    </p:extLst>
  </p:cSld>
  <p:clrMapOvr>
    <a:masterClrMapping/>
  </p:clrMapOvr>
  <p:transition spd="slow">
    <p:strips dir="l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6680EE-E3B9-4B43-B2CE-ABAD6ABF363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44532800"/>
      </p:ext>
    </p:extLst>
  </p:cSld>
  <p:clrMapOvr>
    <a:masterClrMapping/>
  </p:clrMapOvr>
  <p:transition spd="slow">
    <p:strips dir="l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37844944"/>
      </p:ext>
    </p:extLst>
  </p:cSld>
  <p:clrMapOvr>
    <a:masterClrMapping/>
  </p:clrMapOvr>
  <p:transition spd="slow">
    <p:strips dir="l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953EAC-CF7D-4554-978F-8A2D567F91B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7312695"/>
      </p:ext>
    </p:extLst>
  </p:cSld>
  <p:clrMapOvr>
    <a:masterClrMapping/>
  </p:clrMapOvr>
  <p:transition spd="slow">
    <p:strips dir="l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410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600204"/>
            <a:ext cx="5410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C0AD5E-374B-46BC-B92B-25C5C668AA7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3923220"/>
      </p:ext>
    </p:extLst>
  </p:cSld>
  <p:clrMapOvr>
    <a:masterClrMapping/>
  </p:clrMapOvr>
  <p:transition spd="slow">
    <p:strips dir="l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1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A58E87-FB4C-4DA8-8A60-5657CD7A3EB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07310999"/>
      </p:ext>
    </p:extLst>
  </p:cSld>
  <p:clrMapOvr>
    <a:masterClrMapping/>
  </p:clrMapOvr>
  <p:transition spd="slow">
    <p:strips dir="l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27D6F9-DD35-49E3-A064-4FB76403E2D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50679428"/>
      </p:ext>
    </p:extLst>
  </p:cSld>
  <p:clrMapOvr>
    <a:masterClrMapping/>
  </p:clrMapOvr>
  <p:transition spd="slow">
    <p:strips dir="l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AE8AA9-F7A2-4285-8046-46E4F49D18B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00457825"/>
      </p:ext>
    </p:extLst>
  </p:cSld>
  <p:clrMapOvr>
    <a:masterClrMapping/>
  </p:clrMapOvr>
  <p:transition spd="slow">
    <p:strips dir="l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03DCBD-3AAC-464A-BF3D-C385E5929D3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68598089"/>
      </p:ext>
    </p:extLst>
  </p:cSld>
  <p:clrMapOvr>
    <a:masterClrMapping/>
  </p:clrMapOvr>
  <p:transition spd="slow">
    <p:strips dir="l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C5BA98-28AB-476D-A7CA-DB5FD89992D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62444213"/>
      </p:ext>
    </p:extLst>
  </p:cSld>
  <p:clrMapOvr>
    <a:masterClrMapping/>
  </p:clrMapOvr>
  <p:transition spd="slow">
    <p:strips dir="l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kumimoji="0"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kumimoji="0" sz="1200">
                <a:solidFill>
                  <a:srgbClr val="898989"/>
                </a:solidFill>
                <a:cs typeface="Arial" charset="0"/>
              </a:defRPr>
            </a:lvl1pPr>
          </a:lstStyle>
          <a:p>
            <a:pPr>
              <a:defRPr/>
            </a:pPr>
            <a:fld id="{6CB374AE-4C75-4609-9169-EC114B03165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96" r:id="rId1"/>
    <p:sldLayoutId id="2147485497" r:id="rId2"/>
    <p:sldLayoutId id="2147485498" r:id="rId3"/>
    <p:sldLayoutId id="2147485499" r:id="rId4"/>
    <p:sldLayoutId id="2147485500" r:id="rId5"/>
    <p:sldLayoutId id="2147485501" r:id="rId6"/>
    <p:sldLayoutId id="2147485502" r:id="rId7"/>
    <p:sldLayoutId id="2147485503" r:id="rId8"/>
    <p:sldLayoutId id="2147485504" r:id="rId9"/>
    <p:sldLayoutId id="2147485505" r:id="rId10"/>
    <p:sldLayoutId id="2147485506" r:id="rId11"/>
    <p:sldLayoutId id="2147485518" r:id="rId12"/>
    <p:sldLayoutId id="2147485519" r:id="rId13"/>
  </p:sldLayoutIdLst>
  <p:transition spd="slow">
    <p:strips dir="ld"/>
  </p:transition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 kern="1200">
          <a:solidFill>
            <a:schemeClr val="tx1"/>
          </a:solidFill>
          <a:latin typeface="+mj-lt"/>
          <a:ea typeface="Arial" charset="0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Arial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32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8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umimoji="1" sz="24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umimoji="1" sz="2000" kern="1200">
          <a:solidFill>
            <a:schemeClr val="tx1"/>
          </a:solidFill>
          <a:latin typeface="+mn-lt"/>
          <a:ea typeface="Arial" charset="0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2051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0" hangingPunct="0">
              <a:defRPr sz="1200">
                <a:solidFill>
                  <a:prstClr val="black">
                    <a:tint val="75000"/>
                  </a:prstClr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0" hangingPunct="0">
              <a:defRPr sz="1200">
                <a:solidFill>
                  <a:prstClr val="black">
                    <a:tint val="75000"/>
                  </a:prstClr>
                </a:solidFill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0" hangingPunct="0">
              <a:defRPr sz="1200">
                <a:solidFill>
                  <a:prstClr val="black">
                    <a:tint val="75000"/>
                  </a:prstClr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D6C38A45-40B5-4662-9A2C-B36A39B1FFA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507" r:id="rId1"/>
    <p:sldLayoutId id="2147485508" r:id="rId2"/>
    <p:sldLayoutId id="2147485509" r:id="rId3"/>
    <p:sldLayoutId id="2147485510" r:id="rId4"/>
    <p:sldLayoutId id="2147485511" r:id="rId5"/>
    <p:sldLayoutId id="2147485512" r:id="rId6"/>
    <p:sldLayoutId id="2147485513" r:id="rId7"/>
    <p:sldLayoutId id="2147485514" r:id="rId8"/>
    <p:sldLayoutId id="2147485515" r:id="rId9"/>
    <p:sldLayoutId id="2147485516" r:id="rId10"/>
    <p:sldLayoutId id="2147485517" r:id="rId11"/>
    <p:sldLayoutId id="2147485520" r:id="rId12"/>
  </p:sldLayoutIdLst>
  <p:transition spd="slow">
    <p:strips dir="ld"/>
  </p:transition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jpeg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extBox 6"/>
          <p:cNvSpPr txBox="1">
            <a:spLocks noChangeArrowheads="1"/>
          </p:cNvSpPr>
          <p:nvPr/>
        </p:nvSpPr>
        <p:spPr bwMode="auto">
          <a:xfrm>
            <a:off x="460375" y="1276350"/>
            <a:ext cx="8683625" cy="433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5153" tIns="52577" rIns="105153" bIns="52577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kumimoji="1" sz="3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kumimoji="1" sz="28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kumimoji="1" sz="20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ctr" eaLnBrk="0" hangingPunct="0">
              <a:lnSpc>
                <a:spcPts val="55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kumimoji="0" lang="ru-RU" altLang="ru-RU" sz="4600" b="1" dirty="0" smtClean="0">
                <a:solidFill>
                  <a:srgbClr val="006666"/>
                </a:solidFill>
                <a:latin typeface="Arial" charset="0"/>
                <a:cs typeface="+mn-cs"/>
              </a:rPr>
              <a:t> </a:t>
            </a:r>
            <a:r>
              <a:rPr lang="ru-RU" sz="4800" b="1" dirty="0">
                <a:solidFill>
                  <a:srgbClr val="008986"/>
                </a:solidFill>
              </a:rPr>
              <a:t>О состоянии трудоустройства выпускников  профессиональных образовательных организаций Ярославской области </a:t>
            </a:r>
            <a:endParaRPr lang="ru-RU" sz="4800" dirty="0">
              <a:solidFill>
                <a:srgbClr val="008986"/>
              </a:solidFill>
            </a:endParaRPr>
          </a:p>
          <a:p>
            <a:pPr algn="ctr" eaLnBrk="0" hangingPunct="0">
              <a:lnSpc>
                <a:spcPts val="55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endParaRPr kumimoji="0" lang="ru-RU" altLang="ru-RU" sz="4600" b="1" dirty="0" smtClean="0">
              <a:solidFill>
                <a:srgbClr val="006666"/>
              </a:solidFill>
              <a:latin typeface="Arial" charset="0"/>
              <a:cs typeface="+mn-cs"/>
            </a:endParaRPr>
          </a:p>
        </p:txBody>
      </p:sp>
      <p:sp>
        <p:nvSpPr>
          <p:cNvPr id="7" name="Text Box 14"/>
          <p:cNvSpPr txBox="1">
            <a:spLocks noChangeArrowheads="1"/>
          </p:cNvSpPr>
          <p:nvPr/>
        </p:nvSpPr>
        <p:spPr bwMode="auto">
          <a:xfrm>
            <a:off x="5508625" y="4910138"/>
            <a:ext cx="3384550" cy="1182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5153" tIns="52577" rIns="105153" bIns="52577">
            <a:spAutoFit/>
          </a:bodyPr>
          <a:lstStyle/>
          <a:p>
            <a:pPr eaLnBrk="0" hangingPunct="0">
              <a:defRPr/>
            </a:pP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Федорова Ирина Леонидовна</a:t>
            </a:r>
          </a:p>
          <a:p>
            <a:pPr eaLnBrk="0" hangingPunct="0">
              <a:defRPr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itchFamily="34" charset="0"/>
              </a:rPr>
              <a:t> заместитель начальника отдела содействия трудоустройству, надзора и контроля ДГСЗН Ярославской области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3078" name="TextBox 1"/>
          <p:cNvSpPr txBox="1">
            <a:spLocks noChangeArrowheads="1"/>
          </p:cNvSpPr>
          <p:nvPr/>
        </p:nvSpPr>
        <p:spPr bwMode="auto">
          <a:xfrm>
            <a:off x="3640138" y="6237288"/>
            <a:ext cx="20510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7" tIns="60958" rIns="121917" bIns="60958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0" hangingPunct="0">
              <a:spcBef>
                <a:spcPct val="0"/>
              </a:spcBef>
              <a:buFontTx/>
              <a:buNone/>
              <a:defRPr/>
            </a:pPr>
            <a:r>
              <a:rPr lang="ru-RU" altLang="ru-RU" sz="13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Ярославль,</a:t>
            </a:r>
            <a:r>
              <a:rPr lang="en-US" altLang="ru-RU" sz="13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 </a:t>
            </a:r>
          </a:p>
          <a:p>
            <a:pPr algn="ctr" eaLnBrk="0" hangingPunct="0">
              <a:spcBef>
                <a:spcPct val="0"/>
              </a:spcBef>
              <a:buFontTx/>
              <a:buNone/>
              <a:defRPr/>
            </a:pPr>
            <a:r>
              <a:rPr lang="ru-RU" altLang="ru-RU" sz="13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октябрь </a:t>
            </a:r>
            <a:r>
              <a:rPr lang="en-US" altLang="ru-RU" sz="13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2020</a:t>
            </a:r>
            <a:endParaRPr lang="ru-RU" altLang="ru-RU" sz="1300" dirty="0" smtClean="0">
              <a:solidFill>
                <a:schemeClr val="tx1">
                  <a:lumMod val="85000"/>
                  <a:lumOff val="15000"/>
                </a:schemeClr>
              </a:solidFill>
              <a:latin typeface="Arial" charset="0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 flipV="1">
            <a:off x="198438" y="1052513"/>
            <a:ext cx="8809037" cy="36512"/>
          </a:xfrm>
          <a:prstGeom prst="line">
            <a:avLst/>
          </a:prstGeom>
          <a:ln w="19050">
            <a:solidFill>
              <a:srgbClr val="00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6"/>
          <p:cNvSpPr txBox="1">
            <a:spLocks noChangeArrowheads="1"/>
          </p:cNvSpPr>
          <p:nvPr/>
        </p:nvSpPr>
        <p:spPr bwMode="auto">
          <a:xfrm>
            <a:off x="1476375" y="260350"/>
            <a:ext cx="2735263" cy="66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5153" tIns="52577" rIns="105153" bIns="52577">
            <a:spAutoFit/>
          </a:bodyPr>
          <a:lstStyle>
            <a:lvl1pPr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  <a:defRPr/>
            </a:pPr>
            <a:r>
              <a:rPr lang="ru-RU" altLang="ru-RU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charset="0"/>
              </a:rPr>
              <a:t>Департамент государственной службы занятости населения Ярославской области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198438" y="6129338"/>
            <a:ext cx="8809037" cy="36512"/>
          </a:xfrm>
          <a:prstGeom prst="line">
            <a:avLst/>
          </a:prstGeom>
          <a:ln w="19050">
            <a:solidFill>
              <a:srgbClr val="00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52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438" y="271463"/>
            <a:ext cx="1139825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strips dir="ld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260350"/>
            <a:ext cx="1439863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charset="0"/>
            </a:endParaRPr>
          </a:p>
        </p:txBody>
      </p:sp>
      <p:sp>
        <p:nvSpPr>
          <p:cNvPr id="15364" name="Rectangle 1"/>
          <p:cNvSpPr>
            <a:spLocks noChangeArrowheads="1"/>
          </p:cNvSpPr>
          <p:nvPr/>
        </p:nvSpPr>
        <p:spPr bwMode="auto">
          <a:xfrm>
            <a:off x="1116013" y="360363"/>
            <a:ext cx="78486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990000"/>
                </a:solidFill>
                <a:latin typeface="Arial" charset="0"/>
              </a:rPr>
              <a:t>Вакансии в актуальном состоянии можно самостоятельно посмотреть на информационном портале «Работа в России»</a:t>
            </a:r>
            <a:endParaRPr lang="ru-RU" altLang="ru-RU" sz="1500" b="1" i="1">
              <a:solidFill>
                <a:srgbClr val="99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15365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charset="0"/>
            </a:endParaRPr>
          </a:p>
        </p:txBody>
      </p:sp>
      <p:sp>
        <p:nvSpPr>
          <p:cNvPr id="15366" name="Rectangle 9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charset="0"/>
            </a:endParaRPr>
          </a:p>
        </p:txBody>
      </p:sp>
      <p:sp>
        <p:nvSpPr>
          <p:cNvPr id="15367" name="Rectangle 1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charset="0"/>
            </a:endParaRPr>
          </a:p>
        </p:txBody>
      </p:sp>
      <p:sp>
        <p:nvSpPr>
          <p:cNvPr id="15368" name="Rectangle 1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3850" y="1052513"/>
            <a:ext cx="8569325" cy="5329237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53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0" y="1060450"/>
            <a:ext cx="8353425" cy="5176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strips dir="ld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62" name="TextBox 10"/>
          <p:cNvSpPr txBox="1">
            <a:spLocks noChangeArrowheads="1"/>
          </p:cNvSpPr>
          <p:nvPr/>
        </p:nvSpPr>
        <p:spPr bwMode="auto">
          <a:xfrm>
            <a:off x="1025525" y="1700213"/>
            <a:ext cx="6896100" cy="255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8000" b="1">
                <a:solidFill>
                  <a:srgbClr val="006666"/>
                </a:solidFill>
                <a:latin typeface="Arial" charset="0"/>
              </a:rPr>
              <a:t>Спасибо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8000" b="1">
                <a:solidFill>
                  <a:srgbClr val="006666"/>
                </a:solidFill>
                <a:latin typeface="Arial" charset="0"/>
              </a:rPr>
              <a:t>за внимание!</a:t>
            </a:r>
          </a:p>
        </p:txBody>
      </p:sp>
    </p:spTree>
  </p:cSld>
  <p:clrMapOvr>
    <a:masterClrMapping/>
  </p:clrMapOvr>
  <p:transition spd="slow">
    <p:strips dir="l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500"/>
                                        <p:tgtEl>
                                          <p:spTgt spid="194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46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" name="Прямая соединительная линия 65"/>
          <p:cNvCxnSpPr/>
          <p:nvPr/>
        </p:nvCxnSpPr>
        <p:spPr bwMode="auto">
          <a:xfrm>
            <a:off x="0" y="1028700"/>
            <a:ext cx="6858000" cy="4763"/>
          </a:xfrm>
          <a:prstGeom prst="line">
            <a:avLst/>
          </a:prstGeom>
          <a:ln w="28575">
            <a:solidFill>
              <a:srgbClr val="00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2"/>
          <p:cNvSpPr/>
          <p:nvPr/>
        </p:nvSpPr>
        <p:spPr>
          <a:xfrm>
            <a:off x="2132013" y="-7938"/>
            <a:ext cx="7011987" cy="1036638"/>
          </a:xfrm>
          <a:custGeom>
            <a:avLst/>
            <a:gdLst>
              <a:gd name="connsiteX0" fmla="*/ 0 w 6336704"/>
              <a:gd name="connsiteY0" fmla="*/ 0 h 771550"/>
              <a:gd name="connsiteX1" fmla="*/ 6336704 w 6336704"/>
              <a:gd name="connsiteY1" fmla="*/ 0 h 771550"/>
              <a:gd name="connsiteX2" fmla="*/ 6336704 w 6336704"/>
              <a:gd name="connsiteY2" fmla="*/ 771550 h 771550"/>
              <a:gd name="connsiteX3" fmla="*/ 0 w 6336704"/>
              <a:gd name="connsiteY3" fmla="*/ 771550 h 771550"/>
              <a:gd name="connsiteX4" fmla="*/ 0 w 6336704"/>
              <a:gd name="connsiteY4" fmla="*/ 0 h 771550"/>
              <a:gd name="connsiteX0" fmla="*/ 704427 w 6336704"/>
              <a:gd name="connsiteY0" fmla="*/ 0 h 778324"/>
              <a:gd name="connsiteX1" fmla="*/ 6336704 w 6336704"/>
              <a:gd name="connsiteY1" fmla="*/ 6774 h 778324"/>
              <a:gd name="connsiteX2" fmla="*/ 6336704 w 6336704"/>
              <a:gd name="connsiteY2" fmla="*/ 778324 h 778324"/>
              <a:gd name="connsiteX3" fmla="*/ 0 w 6336704"/>
              <a:gd name="connsiteY3" fmla="*/ 778324 h 778324"/>
              <a:gd name="connsiteX4" fmla="*/ 704427 w 6336704"/>
              <a:gd name="connsiteY4" fmla="*/ 0 h 778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36704" h="778324">
                <a:moveTo>
                  <a:pt x="704427" y="0"/>
                </a:moveTo>
                <a:lnTo>
                  <a:pt x="6336704" y="6774"/>
                </a:lnTo>
                <a:lnTo>
                  <a:pt x="6336704" y="778324"/>
                </a:lnTo>
                <a:lnTo>
                  <a:pt x="0" y="778324"/>
                </a:lnTo>
                <a:lnTo>
                  <a:pt x="704427" y="0"/>
                </a:lnTo>
                <a:close/>
              </a:path>
            </a:pathLst>
          </a:custGeom>
          <a:solidFill>
            <a:srgbClr val="00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 dirty="0">
              <a:solidFill>
                <a:prstClr val="white"/>
              </a:solidFill>
            </a:endParaRPr>
          </a:p>
        </p:txBody>
      </p:sp>
      <p:sp>
        <p:nvSpPr>
          <p:cNvPr id="68" name="Прямоугольник 2"/>
          <p:cNvSpPr/>
          <p:nvPr/>
        </p:nvSpPr>
        <p:spPr>
          <a:xfrm>
            <a:off x="2149475" y="31750"/>
            <a:ext cx="6994525" cy="1039813"/>
          </a:xfrm>
          <a:custGeom>
            <a:avLst/>
            <a:gdLst>
              <a:gd name="connsiteX0" fmla="*/ 0 w 6336704"/>
              <a:gd name="connsiteY0" fmla="*/ 0 h 771550"/>
              <a:gd name="connsiteX1" fmla="*/ 6336704 w 6336704"/>
              <a:gd name="connsiteY1" fmla="*/ 0 h 771550"/>
              <a:gd name="connsiteX2" fmla="*/ 6336704 w 6336704"/>
              <a:gd name="connsiteY2" fmla="*/ 771550 h 771550"/>
              <a:gd name="connsiteX3" fmla="*/ 0 w 6336704"/>
              <a:gd name="connsiteY3" fmla="*/ 771550 h 771550"/>
              <a:gd name="connsiteX4" fmla="*/ 0 w 6336704"/>
              <a:gd name="connsiteY4" fmla="*/ 0 h 771550"/>
              <a:gd name="connsiteX0" fmla="*/ 704427 w 6336704"/>
              <a:gd name="connsiteY0" fmla="*/ 0 h 778324"/>
              <a:gd name="connsiteX1" fmla="*/ 6336704 w 6336704"/>
              <a:gd name="connsiteY1" fmla="*/ 6774 h 778324"/>
              <a:gd name="connsiteX2" fmla="*/ 6336704 w 6336704"/>
              <a:gd name="connsiteY2" fmla="*/ 778324 h 778324"/>
              <a:gd name="connsiteX3" fmla="*/ 0 w 6336704"/>
              <a:gd name="connsiteY3" fmla="*/ 778324 h 778324"/>
              <a:gd name="connsiteX4" fmla="*/ 704427 w 6336704"/>
              <a:gd name="connsiteY4" fmla="*/ 0 h 778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36704" h="778324">
                <a:moveTo>
                  <a:pt x="704427" y="0"/>
                </a:moveTo>
                <a:lnTo>
                  <a:pt x="6336704" y="6774"/>
                </a:lnTo>
                <a:lnTo>
                  <a:pt x="6336704" y="778324"/>
                </a:lnTo>
                <a:lnTo>
                  <a:pt x="0" y="778324"/>
                </a:lnTo>
                <a:lnTo>
                  <a:pt x="7044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 dirty="0">
              <a:solidFill>
                <a:prstClr val="white"/>
              </a:solidFill>
            </a:endParaRPr>
          </a:p>
        </p:txBody>
      </p:sp>
      <p:sp>
        <p:nvSpPr>
          <p:cNvPr id="7173" name="TextBox 34"/>
          <p:cNvSpPr txBox="1">
            <a:spLocks noChangeArrowheads="1"/>
          </p:cNvSpPr>
          <p:nvPr/>
        </p:nvSpPr>
        <p:spPr bwMode="auto">
          <a:xfrm>
            <a:off x="827088" y="276225"/>
            <a:ext cx="1304925" cy="909638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925" tIns="38963" rIns="77925" bIns="38963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ru-RU" altLang="ru-RU" sz="900">
                <a:solidFill>
                  <a:srgbClr val="333333"/>
                </a:solidFill>
                <a:latin typeface="Arial" charset="0"/>
              </a:rPr>
              <a:t>Департамент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ru-RU" altLang="ru-RU" sz="900">
                <a:solidFill>
                  <a:srgbClr val="333333"/>
                </a:solidFill>
                <a:latin typeface="Arial" charset="0"/>
              </a:rPr>
              <a:t>государственной службы занятости населения Ярославской области </a:t>
            </a:r>
          </a:p>
        </p:txBody>
      </p:sp>
      <p:sp>
        <p:nvSpPr>
          <p:cNvPr id="70" name="Прямоугольник 2"/>
          <p:cNvSpPr/>
          <p:nvPr/>
        </p:nvSpPr>
        <p:spPr>
          <a:xfrm>
            <a:off x="2674938" y="92075"/>
            <a:ext cx="6469062" cy="960438"/>
          </a:xfrm>
          <a:custGeom>
            <a:avLst/>
            <a:gdLst>
              <a:gd name="connsiteX0" fmla="*/ 0 w 6336704"/>
              <a:gd name="connsiteY0" fmla="*/ 0 h 771550"/>
              <a:gd name="connsiteX1" fmla="*/ 6336704 w 6336704"/>
              <a:gd name="connsiteY1" fmla="*/ 0 h 771550"/>
              <a:gd name="connsiteX2" fmla="*/ 6336704 w 6336704"/>
              <a:gd name="connsiteY2" fmla="*/ 771550 h 771550"/>
              <a:gd name="connsiteX3" fmla="*/ 0 w 6336704"/>
              <a:gd name="connsiteY3" fmla="*/ 771550 h 771550"/>
              <a:gd name="connsiteX4" fmla="*/ 0 w 6336704"/>
              <a:gd name="connsiteY4" fmla="*/ 0 h 771550"/>
              <a:gd name="connsiteX0" fmla="*/ 704427 w 6336704"/>
              <a:gd name="connsiteY0" fmla="*/ 0 h 778324"/>
              <a:gd name="connsiteX1" fmla="*/ 6336704 w 6336704"/>
              <a:gd name="connsiteY1" fmla="*/ 6774 h 778324"/>
              <a:gd name="connsiteX2" fmla="*/ 6336704 w 6336704"/>
              <a:gd name="connsiteY2" fmla="*/ 778324 h 778324"/>
              <a:gd name="connsiteX3" fmla="*/ 0 w 6336704"/>
              <a:gd name="connsiteY3" fmla="*/ 778324 h 778324"/>
              <a:gd name="connsiteX4" fmla="*/ 704427 w 6336704"/>
              <a:gd name="connsiteY4" fmla="*/ 0 h 778324"/>
              <a:gd name="connsiteX0" fmla="*/ 666106 w 6298383"/>
              <a:gd name="connsiteY0" fmla="*/ 0 h 778324"/>
              <a:gd name="connsiteX1" fmla="*/ 6298383 w 6298383"/>
              <a:gd name="connsiteY1" fmla="*/ 6774 h 778324"/>
              <a:gd name="connsiteX2" fmla="*/ 6298383 w 6298383"/>
              <a:gd name="connsiteY2" fmla="*/ 778324 h 778324"/>
              <a:gd name="connsiteX3" fmla="*/ 0 w 6298383"/>
              <a:gd name="connsiteY3" fmla="*/ 778324 h 778324"/>
              <a:gd name="connsiteX4" fmla="*/ 666106 w 6298383"/>
              <a:gd name="connsiteY4" fmla="*/ 0 h 778324"/>
              <a:gd name="connsiteX0" fmla="*/ 643114 w 6275391"/>
              <a:gd name="connsiteY0" fmla="*/ 0 h 778324"/>
              <a:gd name="connsiteX1" fmla="*/ 6275391 w 6275391"/>
              <a:gd name="connsiteY1" fmla="*/ 6774 h 778324"/>
              <a:gd name="connsiteX2" fmla="*/ 6275391 w 6275391"/>
              <a:gd name="connsiteY2" fmla="*/ 778324 h 778324"/>
              <a:gd name="connsiteX3" fmla="*/ 0 w 6275391"/>
              <a:gd name="connsiteY3" fmla="*/ 774206 h 778324"/>
              <a:gd name="connsiteX4" fmla="*/ 643114 w 6275391"/>
              <a:gd name="connsiteY4" fmla="*/ 0 h 778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75391" h="778324">
                <a:moveTo>
                  <a:pt x="643114" y="0"/>
                </a:moveTo>
                <a:lnTo>
                  <a:pt x="6275391" y="6774"/>
                </a:lnTo>
                <a:lnTo>
                  <a:pt x="6275391" y="778324"/>
                </a:lnTo>
                <a:lnTo>
                  <a:pt x="0" y="774206"/>
                </a:lnTo>
                <a:lnTo>
                  <a:pt x="643114" y="0"/>
                </a:lnTo>
                <a:close/>
              </a:path>
            </a:pathLst>
          </a:custGeom>
          <a:gradFill flip="none" rotWithShape="1">
            <a:gsLst>
              <a:gs pos="28000">
                <a:srgbClr val="006666"/>
              </a:gs>
              <a:gs pos="81000">
                <a:srgbClr val="009999"/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 dirty="0">
              <a:solidFill>
                <a:prstClr val="white"/>
              </a:solidFill>
            </a:endParaRPr>
          </a:p>
        </p:txBody>
      </p:sp>
      <p:sp>
        <p:nvSpPr>
          <p:cNvPr id="7175" name="Прямоугольник 101"/>
          <p:cNvSpPr>
            <a:spLocks noChangeArrowheads="1"/>
          </p:cNvSpPr>
          <p:nvPr/>
        </p:nvSpPr>
        <p:spPr bwMode="auto">
          <a:xfrm>
            <a:off x="2674938" y="246063"/>
            <a:ext cx="643413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kumimoji="0" lang="ru-RU" altLang="ru-RU" sz="2400" b="1">
                <a:solidFill>
                  <a:srgbClr val="FFFFFF"/>
                </a:solidFill>
                <a:latin typeface="Arial" charset="0"/>
              </a:rPr>
              <a:t>Ситуация на рынке труда области</a:t>
            </a:r>
          </a:p>
        </p:txBody>
      </p:sp>
      <p:sp>
        <p:nvSpPr>
          <p:cNvPr id="7176" name="TextBox 5"/>
          <p:cNvSpPr txBox="1">
            <a:spLocks noChangeArrowheads="1"/>
          </p:cNvSpPr>
          <p:nvPr/>
        </p:nvSpPr>
        <p:spPr bwMode="auto">
          <a:xfrm>
            <a:off x="8513763" y="6524625"/>
            <a:ext cx="6302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400">
                <a:solidFill>
                  <a:srgbClr val="000000"/>
                </a:solidFill>
                <a:latin typeface="Arial" charset="0"/>
              </a:rPr>
              <a:t>1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/>
        </p:nvGraphicFramePr>
        <p:xfrm>
          <a:off x="360363" y="1557338"/>
          <a:ext cx="8323262" cy="719138"/>
        </p:xfrm>
        <a:graphic>
          <a:graphicData uri="http://schemas.openxmlformats.org/drawingml/2006/table">
            <a:tbl>
              <a:tblPr/>
              <a:tblGrid>
                <a:gridCol w="3078162"/>
                <a:gridCol w="919163"/>
                <a:gridCol w="128587"/>
                <a:gridCol w="3205163"/>
                <a:gridCol w="992187"/>
              </a:tblGrid>
              <a:tr h="71913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 sz="2800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 sz="2400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 sz="2000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938838" algn="l"/>
                        </a:tabLst>
                      </a:pPr>
                      <a:r>
                        <a:rPr kumimoji="0" lang="ru-RU" alt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ровень регистрируемой безработицы</a:t>
                      </a:r>
                    </a:p>
                  </a:txBody>
                  <a:tcPr marL="51448" marR="51448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 sz="2800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 sz="2400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 sz="2000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938838" algn="l"/>
                        </a:tabLst>
                      </a:pPr>
                      <a:r>
                        <a:rPr kumimoji="0" lang="ru-RU" alt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4,7 %</a:t>
                      </a:r>
                    </a:p>
                  </a:txBody>
                  <a:tcPr marL="51448" marR="51448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 sz="2800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 sz="2400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 sz="2000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938838" algn="l"/>
                        </a:tabLst>
                      </a:pPr>
                      <a:r>
                        <a:rPr kumimoji="0" lang="ru-RU" alt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а</a:t>
                      </a:r>
                    </a:p>
                  </a:txBody>
                  <a:tcPr marL="51448" marR="51448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 sz="2800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 sz="2400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 sz="2000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938838" algn="l"/>
                        </a:tabLst>
                      </a:pPr>
                      <a:r>
                        <a:rPr kumimoji="0" lang="ru-RU" altLang="ru-RU" sz="15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оэффициент напряженности на рынке труда</a:t>
                      </a:r>
                      <a:endParaRPr kumimoji="0" lang="ru-RU" alt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51448" marR="51448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B9B8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 sz="2800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 sz="2400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 sz="2000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charset="0"/>
                        <a:tabLst>
                          <a:tab pos="5938838" algn="l"/>
                        </a:tabLst>
                        <a:defRPr kumimoji="1">
                          <a:solidFill>
                            <a:schemeClr val="tx1"/>
                          </a:solidFill>
                          <a:latin typeface="Calibri" pitchFamily="34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938838" algn="l"/>
                        </a:tabLst>
                      </a:pPr>
                      <a:r>
                        <a:rPr kumimoji="0" lang="ru-RU" altLang="ru-RU" sz="15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2,6</a:t>
                      </a:r>
                    </a:p>
                  </a:txBody>
                  <a:tcPr marL="51448" marR="51448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B9B8"/>
                    </a:solidFill>
                  </a:tcPr>
                </a:tc>
              </a:tr>
            </a:tbl>
          </a:graphicData>
        </a:graphic>
      </p:graphicFrame>
      <p:sp>
        <p:nvSpPr>
          <p:cNvPr id="7185" name="TextBox 18"/>
          <p:cNvSpPr txBox="1">
            <a:spLocks noChangeArrowheads="1"/>
          </p:cNvSpPr>
          <p:nvPr/>
        </p:nvSpPr>
        <p:spPr bwMode="auto">
          <a:xfrm>
            <a:off x="387350" y="1125538"/>
            <a:ext cx="1620838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700" b="1">
                <a:solidFill>
                  <a:srgbClr val="000000"/>
                </a:solidFill>
                <a:latin typeface="Arial" charset="0"/>
              </a:rPr>
              <a:t>На 01.10.202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387350" y="2571750"/>
            <a:ext cx="3752850" cy="784225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1500" dirty="0">
                <a:solidFill>
                  <a:prstClr val="black"/>
                </a:solidFill>
                <a:latin typeface="Arial" panose="020B0604020202020204" pitchFamily="34" charset="0"/>
              </a:rPr>
              <a:t>В органах службы занятости населения зарегистрировано </a:t>
            </a:r>
          </a:p>
          <a:p>
            <a:pPr algn="ctr" eaLnBrk="0" hangingPunct="0">
              <a:spcAft>
                <a:spcPts val="500"/>
              </a:spcAft>
              <a:defRPr/>
            </a:pPr>
            <a:r>
              <a:rPr lang="ru-RU" sz="1500" b="1" dirty="0">
                <a:solidFill>
                  <a:prstClr val="black"/>
                </a:solidFill>
                <a:latin typeface="Arial" panose="020B0604020202020204" pitchFamily="34" charset="0"/>
              </a:rPr>
              <a:t>более 30 </a:t>
            </a:r>
            <a:r>
              <a:rPr lang="ru-RU" sz="1500" b="1" dirty="0">
                <a:solidFill>
                  <a:prstClr val="black"/>
                </a:solidFill>
                <a:latin typeface="Arial" panose="020B0604020202020204" pitchFamily="34" charset="0"/>
              </a:rPr>
              <a:t>тыс. безработных граждан</a:t>
            </a:r>
          </a:p>
        </p:txBody>
      </p:sp>
      <p:pic>
        <p:nvPicPr>
          <p:cNvPr id="71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2852738"/>
            <a:ext cx="366713" cy="354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3" name="Диаграмма 32"/>
          <p:cNvGraphicFramePr>
            <a:graphicFrameLocks/>
          </p:cNvGraphicFramePr>
          <p:nvPr/>
        </p:nvGraphicFramePr>
        <p:xfrm>
          <a:off x="4184454" y="3485169"/>
          <a:ext cx="4644626" cy="3014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189" name="Прямоугольник 1"/>
          <p:cNvSpPr>
            <a:spLocks noChangeArrowheads="1"/>
          </p:cNvSpPr>
          <p:nvPr/>
        </p:nvSpPr>
        <p:spPr bwMode="auto">
          <a:xfrm>
            <a:off x="4572000" y="2700338"/>
            <a:ext cx="3992563" cy="784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500" b="1">
                <a:latin typeface="Arial" charset="0"/>
              </a:rPr>
              <a:t>Динамика численности </a:t>
            </a:r>
            <a:endParaRPr lang="en-US" altLang="ru-RU" sz="1500" b="1">
              <a:latin typeface="Arial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500" b="1">
                <a:latin typeface="Arial" charset="0"/>
              </a:rPr>
              <a:t>безработных граждан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500" i="1">
                <a:latin typeface="Arial" charset="0"/>
              </a:rPr>
              <a:t>(на конец отчетного периода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356100" y="2636838"/>
            <a:ext cx="4427538" cy="3887787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graphicFrame>
        <p:nvGraphicFramePr>
          <p:cNvPr id="36" name="Диаграмма 35"/>
          <p:cNvGraphicFramePr>
            <a:graphicFrameLocks/>
          </p:cNvGraphicFramePr>
          <p:nvPr/>
        </p:nvGraphicFramePr>
        <p:xfrm>
          <a:off x="392451" y="4329459"/>
          <a:ext cx="3651368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192" name="TextBox 3"/>
          <p:cNvSpPr txBox="1">
            <a:spLocks noChangeArrowheads="1"/>
          </p:cNvSpPr>
          <p:nvPr/>
        </p:nvSpPr>
        <p:spPr bwMode="auto">
          <a:xfrm>
            <a:off x="4564063" y="3575050"/>
            <a:ext cx="1289050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300">
                <a:latin typeface="Arial" charset="0"/>
              </a:rPr>
              <a:t>(тыс. человек)</a:t>
            </a:r>
          </a:p>
        </p:txBody>
      </p:sp>
      <p:sp>
        <p:nvSpPr>
          <p:cNvPr id="7193" name="Прямоугольник 4"/>
          <p:cNvSpPr>
            <a:spLocks noChangeArrowheads="1"/>
          </p:cNvSpPr>
          <p:nvPr/>
        </p:nvSpPr>
        <p:spPr bwMode="auto">
          <a:xfrm>
            <a:off x="427038" y="3579813"/>
            <a:ext cx="3713162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" charset="0"/>
              </a:rPr>
              <a:t>Количество получателей пособия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" charset="0"/>
              </a:rPr>
              <a:t> по безработице </a:t>
            </a:r>
            <a:r>
              <a:rPr lang="ru-RU" altLang="ru-RU" sz="1500" b="1">
                <a:latin typeface="Arial" charset="0"/>
              </a:rPr>
              <a:t>– около  29 тыс. человек</a:t>
            </a:r>
            <a:r>
              <a:rPr lang="ru-RU" altLang="ru-RU" sz="1500">
                <a:latin typeface="Arial" charset="0"/>
              </a:rPr>
              <a:t>, из них:</a:t>
            </a:r>
            <a:r>
              <a:rPr lang="ru-RU" altLang="ru-RU" sz="1500"/>
              <a:t> </a:t>
            </a:r>
          </a:p>
        </p:txBody>
      </p:sp>
      <p:pic>
        <p:nvPicPr>
          <p:cNvPr id="7194" name="Рисунок 6" descr="gerb1.jp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438" y="188913"/>
            <a:ext cx="376237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strips dir="ld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" name="Прямая соединительная линия 65"/>
          <p:cNvCxnSpPr/>
          <p:nvPr/>
        </p:nvCxnSpPr>
        <p:spPr bwMode="auto">
          <a:xfrm>
            <a:off x="0" y="1028700"/>
            <a:ext cx="6858000" cy="4763"/>
          </a:xfrm>
          <a:prstGeom prst="line">
            <a:avLst/>
          </a:prstGeom>
          <a:ln w="28575">
            <a:solidFill>
              <a:srgbClr val="00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2"/>
          <p:cNvSpPr/>
          <p:nvPr/>
        </p:nvSpPr>
        <p:spPr>
          <a:xfrm>
            <a:off x="2132013" y="-7938"/>
            <a:ext cx="7011987" cy="1036638"/>
          </a:xfrm>
          <a:custGeom>
            <a:avLst/>
            <a:gdLst>
              <a:gd name="connsiteX0" fmla="*/ 0 w 6336704"/>
              <a:gd name="connsiteY0" fmla="*/ 0 h 771550"/>
              <a:gd name="connsiteX1" fmla="*/ 6336704 w 6336704"/>
              <a:gd name="connsiteY1" fmla="*/ 0 h 771550"/>
              <a:gd name="connsiteX2" fmla="*/ 6336704 w 6336704"/>
              <a:gd name="connsiteY2" fmla="*/ 771550 h 771550"/>
              <a:gd name="connsiteX3" fmla="*/ 0 w 6336704"/>
              <a:gd name="connsiteY3" fmla="*/ 771550 h 771550"/>
              <a:gd name="connsiteX4" fmla="*/ 0 w 6336704"/>
              <a:gd name="connsiteY4" fmla="*/ 0 h 771550"/>
              <a:gd name="connsiteX0" fmla="*/ 704427 w 6336704"/>
              <a:gd name="connsiteY0" fmla="*/ 0 h 778324"/>
              <a:gd name="connsiteX1" fmla="*/ 6336704 w 6336704"/>
              <a:gd name="connsiteY1" fmla="*/ 6774 h 778324"/>
              <a:gd name="connsiteX2" fmla="*/ 6336704 w 6336704"/>
              <a:gd name="connsiteY2" fmla="*/ 778324 h 778324"/>
              <a:gd name="connsiteX3" fmla="*/ 0 w 6336704"/>
              <a:gd name="connsiteY3" fmla="*/ 778324 h 778324"/>
              <a:gd name="connsiteX4" fmla="*/ 704427 w 6336704"/>
              <a:gd name="connsiteY4" fmla="*/ 0 h 778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36704" h="778324">
                <a:moveTo>
                  <a:pt x="704427" y="0"/>
                </a:moveTo>
                <a:lnTo>
                  <a:pt x="6336704" y="6774"/>
                </a:lnTo>
                <a:lnTo>
                  <a:pt x="6336704" y="778324"/>
                </a:lnTo>
                <a:lnTo>
                  <a:pt x="0" y="778324"/>
                </a:lnTo>
                <a:lnTo>
                  <a:pt x="704427" y="0"/>
                </a:lnTo>
                <a:close/>
              </a:path>
            </a:pathLst>
          </a:custGeom>
          <a:solidFill>
            <a:srgbClr val="00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 dirty="0"/>
          </a:p>
        </p:txBody>
      </p:sp>
      <p:sp>
        <p:nvSpPr>
          <p:cNvPr id="68" name="Прямоугольник 2"/>
          <p:cNvSpPr/>
          <p:nvPr/>
        </p:nvSpPr>
        <p:spPr>
          <a:xfrm>
            <a:off x="2149475" y="31750"/>
            <a:ext cx="6994525" cy="1039813"/>
          </a:xfrm>
          <a:custGeom>
            <a:avLst/>
            <a:gdLst>
              <a:gd name="connsiteX0" fmla="*/ 0 w 6336704"/>
              <a:gd name="connsiteY0" fmla="*/ 0 h 771550"/>
              <a:gd name="connsiteX1" fmla="*/ 6336704 w 6336704"/>
              <a:gd name="connsiteY1" fmla="*/ 0 h 771550"/>
              <a:gd name="connsiteX2" fmla="*/ 6336704 w 6336704"/>
              <a:gd name="connsiteY2" fmla="*/ 771550 h 771550"/>
              <a:gd name="connsiteX3" fmla="*/ 0 w 6336704"/>
              <a:gd name="connsiteY3" fmla="*/ 771550 h 771550"/>
              <a:gd name="connsiteX4" fmla="*/ 0 w 6336704"/>
              <a:gd name="connsiteY4" fmla="*/ 0 h 771550"/>
              <a:gd name="connsiteX0" fmla="*/ 704427 w 6336704"/>
              <a:gd name="connsiteY0" fmla="*/ 0 h 778324"/>
              <a:gd name="connsiteX1" fmla="*/ 6336704 w 6336704"/>
              <a:gd name="connsiteY1" fmla="*/ 6774 h 778324"/>
              <a:gd name="connsiteX2" fmla="*/ 6336704 w 6336704"/>
              <a:gd name="connsiteY2" fmla="*/ 778324 h 778324"/>
              <a:gd name="connsiteX3" fmla="*/ 0 w 6336704"/>
              <a:gd name="connsiteY3" fmla="*/ 778324 h 778324"/>
              <a:gd name="connsiteX4" fmla="*/ 704427 w 6336704"/>
              <a:gd name="connsiteY4" fmla="*/ 0 h 778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36704" h="778324">
                <a:moveTo>
                  <a:pt x="704427" y="0"/>
                </a:moveTo>
                <a:lnTo>
                  <a:pt x="6336704" y="6774"/>
                </a:lnTo>
                <a:lnTo>
                  <a:pt x="6336704" y="778324"/>
                </a:lnTo>
                <a:lnTo>
                  <a:pt x="0" y="778324"/>
                </a:lnTo>
                <a:lnTo>
                  <a:pt x="7044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 dirty="0"/>
          </a:p>
        </p:txBody>
      </p:sp>
      <p:sp>
        <p:nvSpPr>
          <p:cNvPr id="8197" name="TextBox 34"/>
          <p:cNvSpPr txBox="1">
            <a:spLocks noChangeArrowheads="1"/>
          </p:cNvSpPr>
          <p:nvPr/>
        </p:nvSpPr>
        <p:spPr bwMode="auto">
          <a:xfrm>
            <a:off x="630238" y="214313"/>
            <a:ext cx="1587500" cy="6334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925" tIns="38963" rIns="77925" bIns="38963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ru-RU" altLang="ru-RU" sz="900">
                <a:solidFill>
                  <a:srgbClr val="333333"/>
                </a:solidFill>
                <a:latin typeface="Arial" charset="0"/>
              </a:rPr>
              <a:t>Департамент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ru-RU" altLang="ru-RU" sz="900">
                <a:solidFill>
                  <a:srgbClr val="333333"/>
                </a:solidFill>
                <a:latin typeface="Arial" charset="0"/>
              </a:rPr>
              <a:t>государственной службы занятости населения Ярославской области </a:t>
            </a:r>
          </a:p>
        </p:txBody>
      </p:sp>
      <p:sp>
        <p:nvSpPr>
          <p:cNvPr id="70" name="Прямоугольник 2"/>
          <p:cNvSpPr/>
          <p:nvPr/>
        </p:nvSpPr>
        <p:spPr>
          <a:xfrm>
            <a:off x="2251075" y="92075"/>
            <a:ext cx="6892925" cy="960438"/>
          </a:xfrm>
          <a:custGeom>
            <a:avLst/>
            <a:gdLst>
              <a:gd name="connsiteX0" fmla="*/ 0 w 6336704"/>
              <a:gd name="connsiteY0" fmla="*/ 0 h 771550"/>
              <a:gd name="connsiteX1" fmla="*/ 6336704 w 6336704"/>
              <a:gd name="connsiteY1" fmla="*/ 0 h 771550"/>
              <a:gd name="connsiteX2" fmla="*/ 6336704 w 6336704"/>
              <a:gd name="connsiteY2" fmla="*/ 771550 h 771550"/>
              <a:gd name="connsiteX3" fmla="*/ 0 w 6336704"/>
              <a:gd name="connsiteY3" fmla="*/ 771550 h 771550"/>
              <a:gd name="connsiteX4" fmla="*/ 0 w 6336704"/>
              <a:gd name="connsiteY4" fmla="*/ 0 h 771550"/>
              <a:gd name="connsiteX0" fmla="*/ 704427 w 6336704"/>
              <a:gd name="connsiteY0" fmla="*/ 0 h 778324"/>
              <a:gd name="connsiteX1" fmla="*/ 6336704 w 6336704"/>
              <a:gd name="connsiteY1" fmla="*/ 6774 h 778324"/>
              <a:gd name="connsiteX2" fmla="*/ 6336704 w 6336704"/>
              <a:gd name="connsiteY2" fmla="*/ 778324 h 778324"/>
              <a:gd name="connsiteX3" fmla="*/ 0 w 6336704"/>
              <a:gd name="connsiteY3" fmla="*/ 778324 h 778324"/>
              <a:gd name="connsiteX4" fmla="*/ 704427 w 6336704"/>
              <a:gd name="connsiteY4" fmla="*/ 0 h 778324"/>
              <a:gd name="connsiteX0" fmla="*/ 666106 w 6298383"/>
              <a:gd name="connsiteY0" fmla="*/ 0 h 778324"/>
              <a:gd name="connsiteX1" fmla="*/ 6298383 w 6298383"/>
              <a:gd name="connsiteY1" fmla="*/ 6774 h 778324"/>
              <a:gd name="connsiteX2" fmla="*/ 6298383 w 6298383"/>
              <a:gd name="connsiteY2" fmla="*/ 778324 h 778324"/>
              <a:gd name="connsiteX3" fmla="*/ 0 w 6298383"/>
              <a:gd name="connsiteY3" fmla="*/ 778324 h 778324"/>
              <a:gd name="connsiteX4" fmla="*/ 666106 w 6298383"/>
              <a:gd name="connsiteY4" fmla="*/ 0 h 778324"/>
              <a:gd name="connsiteX0" fmla="*/ 643114 w 6275391"/>
              <a:gd name="connsiteY0" fmla="*/ 0 h 778324"/>
              <a:gd name="connsiteX1" fmla="*/ 6275391 w 6275391"/>
              <a:gd name="connsiteY1" fmla="*/ 6774 h 778324"/>
              <a:gd name="connsiteX2" fmla="*/ 6275391 w 6275391"/>
              <a:gd name="connsiteY2" fmla="*/ 778324 h 778324"/>
              <a:gd name="connsiteX3" fmla="*/ 0 w 6275391"/>
              <a:gd name="connsiteY3" fmla="*/ 774206 h 778324"/>
              <a:gd name="connsiteX4" fmla="*/ 643114 w 6275391"/>
              <a:gd name="connsiteY4" fmla="*/ 0 h 778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75391" h="778324">
                <a:moveTo>
                  <a:pt x="643114" y="0"/>
                </a:moveTo>
                <a:lnTo>
                  <a:pt x="6275391" y="6774"/>
                </a:lnTo>
                <a:lnTo>
                  <a:pt x="6275391" y="778324"/>
                </a:lnTo>
                <a:lnTo>
                  <a:pt x="0" y="774206"/>
                </a:lnTo>
                <a:lnTo>
                  <a:pt x="643114" y="0"/>
                </a:lnTo>
                <a:close/>
              </a:path>
            </a:pathLst>
          </a:custGeom>
          <a:gradFill flip="none" rotWithShape="1">
            <a:gsLst>
              <a:gs pos="28000">
                <a:srgbClr val="006666"/>
              </a:gs>
              <a:gs pos="81000">
                <a:srgbClr val="009999"/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 dirty="0"/>
          </a:p>
        </p:txBody>
      </p:sp>
      <p:sp>
        <p:nvSpPr>
          <p:cNvPr id="8199" name="Прямоугольник 101"/>
          <p:cNvSpPr>
            <a:spLocks noChangeArrowheads="1"/>
          </p:cNvSpPr>
          <p:nvPr/>
        </p:nvSpPr>
        <p:spPr bwMode="auto">
          <a:xfrm>
            <a:off x="2681288" y="188913"/>
            <a:ext cx="6373812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kumimoji="0" lang="ru-RU" altLang="ru-RU" sz="2400" b="1">
                <a:solidFill>
                  <a:schemeClr val="bg1"/>
                </a:solidFill>
                <a:latin typeface="Arial" charset="0"/>
              </a:rPr>
              <a:t>Востребованные вакансии</a:t>
            </a:r>
          </a:p>
        </p:txBody>
      </p:sp>
      <p:pic>
        <p:nvPicPr>
          <p:cNvPr id="8200" name="Рисунок 6" descr="gerb1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438" y="115888"/>
            <a:ext cx="376237" cy="72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201" name="TextBox 5"/>
          <p:cNvSpPr txBox="1">
            <a:spLocks noChangeArrowheads="1"/>
          </p:cNvSpPr>
          <p:nvPr/>
        </p:nvSpPr>
        <p:spPr bwMode="auto">
          <a:xfrm>
            <a:off x="8372475" y="6524625"/>
            <a:ext cx="6302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400">
                <a:latin typeface="Arial" charset="0"/>
              </a:rPr>
              <a:t>2</a:t>
            </a:r>
          </a:p>
        </p:txBody>
      </p:sp>
      <p:sp>
        <p:nvSpPr>
          <p:cNvPr id="19" name="Прямоугольник 1"/>
          <p:cNvSpPr>
            <a:spLocks noChangeArrowheads="1"/>
          </p:cNvSpPr>
          <p:nvPr/>
        </p:nvSpPr>
        <p:spPr bwMode="auto">
          <a:xfrm>
            <a:off x="327025" y="1425575"/>
            <a:ext cx="2732088" cy="7381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ct val="0"/>
              </a:spcBef>
              <a:spcAft>
                <a:spcPts val="1200"/>
              </a:spcAft>
              <a:buFontTx/>
              <a:buNone/>
              <a:defRPr/>
            </a:pPr>
            <a:r>
              <a:rPr lang="ru-RU" sz="1600" b="1" dirty="0" smtClean="0"/>
              <a:t>По </a:t>
            </a:r>
            <a:r>
              <a:rPr lang="ru-RU" sz="1600" b="1" dirty="0"/>
              <a:t>состоянию на 01.10.2020 </a:t>
            </a:r>
            <a:endParaRPr lang="ru-RU" sz="1600" b="1" dirty="0" smtClean="0"/>
          </a:p>
          <a:p>
            <a:pPr algn="ctr" eaLnBrk="0" hangingPunct="0">
              <a:spcBef>
                <a:spcPct val="0"/>
              </a:spcBef>
              <a:spcAft>
                <a:spcPts val="1200"/>
              </a:spcAft>
              <a:buFontTx/>
              <a:buNone/>
              <a:defRPr/>
            </a:pPr>
            <a:r>
              <a:rPr lang="ru-RU" sz="1600" b="1" dirty="0" smtClean="0"/>
              <a:t>12  тысяч вакансий</a:t>
            </a:r>
            <a:endParaRPr lang="ru-RU" altLang="ru-RU" sz="1600" b="1" dirty="0" smtClean="0"/>
          </a:p>
        </p:txBody>
      </p:sp>
      <p:sp>
        <p:nvSpPr>
          <p:cNvPr id="23" name="Прямоугольник 18"/>
          <p:cNvSpPr>
            <a:spLocks noChangeArrowheads="1"/>
          </p:cNvSpPr>
          <p:nvPr/>
        </p:nvSpPr>
        <p:spPr bwMode="auto">
          <a:xfrm>
            <a:off x="198438" y="2214563"/>
            <a:ext cx="3005137" cy="424973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lang="ru-RU" sz="1600" dirty="0"/>
              <a:t>Наибольшую потребность в рабочей силе испытывают организации, относящиеся к отрасли «Здравоохранение</a:t>
            </a:r>
            <a:r>
              <a:rPr lang="ru-RU" sz="1600" dirty="0" smtClean="0"/>
              <a:t>».</a:t>
            </a:r>
          </a:p>
          <a:p>
            <a:pPr algn="ctr" eaLnBrk="0" hangingPunct="0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endParaRPr lang="ru-RU" altLang="ru-RU" sz="1600" b="1" dirty="0"/>
          </a:p>
          <a:p>
            <a:pPr>
              <a:buFont typeface="Arial" pitchFamily="34" charset="0"/>
              <a:buNone/>
              <a:defRPr/>
            </a:pPr>
            <a:r>
              <a:rPr lang="ru-RU" sz="1300" i="1" dirty="0"/>
              <a:t>Предложение рабочей силы превышает спрос в следующих отраслях:</a:t>
            </a:r>
          </a:p>
          <a:p>
            <a:pPr>
              <a:defRPr/>
            </a:pPr>
            <a:r>
              <a:rPr lang="ru-RU" sz="1300" dirty="0"/>
              <a:t>- торговля (в 6,5 раза);</a:t>
            </a:r>
          </a:p>
          <a:p>
            <a:pPr>
              <a:defRPr/>
            </a:pPr>
            <a:r>
              <a:rPr lang="ru-RU" sz="1300" dirty="0"/>
              <a:t>- предоставление услуг населению (в 4,8 раз)</a:t>
            </a:r>
          </a:p>
          <a:p>
            <a:pPr>
              <a:defRPr/>
            </a:pPr>
            <a:r>
              <a:rPr lang="ru-RU" sz="1300" dirty="0"/>
              <a:t>- финансовая деятельность (в 4,3раза);</a:t>
            </a:r>
          </a:p>
          <a:p>
            <a:pPr>
              <a:defRPr/>
            </a:pPr>
            <a:r>
              <a:rPr lang="ru-RU" sz="1300" dirty="0"/>
              <a:t>- строительство (в 3,8 раз);</a:t>
            </a:r>
          </a:p>
          <a:p>
            <a:pPr>
              <a:defRPr/>
            </a:pPr>
            <a:r>
              <a:rPr lang="ru-RU" sz="1300" dirty="0"/>
              <a:t>- гостиницы и общественное питание  (в 3,8 раз);</a:t>
            </a:r>
          </a:p>
          <a:p>
            <a:pPr>
              <a:defRPr/>
            </a:pPr>
            <a:r>
              <a:rPr lang="ru-RU" sz="1300" dirty="0"/>
              <a:t>- операции с недвижимостью (в 3,3 раз).</a:t>
            </a:r>
          </a:p>
          <a:p>
            <a:pPr algn="ctr" eaLnBrk="0" hangingPunct="0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endParaRPr lang="ru-RU" altLang="ru-RU" sz="1600" b="1" dirty="0" smtClean="0"/>
          </a:p>
        </p:txBody>
      </p:sp>
      <p:sp>
        <p:nvSpPr>
          <p:cNvPr id="27" name="Прямоугольник 27"/>
          <p:cNvSpPr>
            <a:spLocks noChangeArrowheads="1"/>
          </p:cNvSpPr>
          <p:nvPr/>
        </p:nvSpPr>
        <p:spPr bwMode="auto">
          <a:xfrm>
            <a:off x="3995738" y="1476375"/>
            <a:ext cx="4691062" cy="73818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itchFamily="34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ct val="0"/>
              </a:spcBef>
              <a:spcAft>
                <a:spcPts val="1200"/>
              </a:spcAft>
              <a:buFontTx/>
              <a:buNone/>
              <a:defRPr/>
            </a:pPr>
            <a:r>
              <a:rPr lang="ru-RU" sz="1600" b="1" dirty="0" smtClean="0"/>
              <a:t>Наибольшим </a:t>
            </a:r>
            <a:r>
              <a:rPr lang="ru-RU" sz="1600" b="1" dirty="0"/>
              <a:t>спросом работодателей </a:t>
            </a:r>
            <a:endParaRPr lang="ru-RU" sz="1600" b="1" dirty="0" smtClean="0"/>
          </a:p>
          <a:p>
            <a:pPr algn="ctr" eaLnBrk="0" hangingPunct="0">
              <a:spcBef>
                <a:spcPct val="0"/>
              </a:spcBef>
              <a:spcAft>
                <a:spcPts val="1200"/>
              </a:spcAft>
              <a:buFontTx/>
              <a:buNone/>
              <a:defRPr/>
            </a:pPr>
            <a:r>
              <a:rPr lang="ru-RU" sz="1600" b="1" dirty="0" smtClean="0"/>
              <a:t>пользуются </a:t>
            </a:r>
            <a:r>
              <a:rPr lang="ru-RU" sz="1600" b="1" dirty="0"/>
              <a:t>следующие </a:t>
            </a:r>
            <a:r>
              <a:rPr lang="ru-RU" sz="1600" b="1" dirty="0" smtClean="0"/>
              <a:t>профессии</a:t>
            </a:r>
            <a:endParaRPr lang="ru-RU" altLang="ru-RU" sz="1600" b="1" dirty="0" smtClean="0"/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574675" y="1811338"/>
            <a:ext cx="1909763" cy="0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4356100" y="1844675"/>
            <a:ext cx="4016375" cy="0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3635375" y="2936875"/>
            <a:ext cx="2233613" cy="324167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eaLnBrk="0" hangingPunct="0">
              <a:spcAft>
                <a:spcPts val="100"/>
              </a:spcAft>
              <a:buClr>
                <a:schemeClr val="accent2">
                  <a:lumMod val="75000"/>
                </a:schemeClr>
              </a:buClr>
              <a:defRPr/>
            </a:pPr>
            <a:r>
              <a:rPr lang="ru-RU" sz="1600" dirty="0"/>
              <a:t> </a:t>
            </a:r>
            <a:r>
              <a:rPr lang="ru-RU" sz="1600" b="1" dirty="0"/>
              <a:t>для рабочих:</a:t>
            </a:r>
          </a:p>
          <a:p>
            <a:pPr marL="285750" indent="-285750" eaLnBrk="0" hangingPunct="0">
              <a:spcAft>
                <a:spcPts val="100"/>
              </a:spcAft>
              <a:buClr>
                <a:schemeClr val="accent2">
                  <a:lumMod val="75000"/>
                </a:schemeClr>
              </a:buClr>
              <a:buFont typeface="Wingdings 3" panose="05040102010807070707" pitchFamily="18" charset="2"/>
              <a:buChar char=""/>
              <a:defRPr/>
            </a:pPr>
            <a:r>
              <a:rPr lang="ru-RU" sz="1400" dirty="0"/>
              <a:t>подсобный </a:t>
            </a:r>
            <a:r>
              <a:rPr lang="ru-RU" sz="1400" dirty="0"/>
              <a:t>рабочий</a:t>
            </a:r>
            <a:r>
              <a:rPr lang="ru-RU" sz="1400" dirty="0"/>
              <a:t>, </a:t>
            </a:r>
            <a:endParaRPr lang="ru-RU" sz="1400" dirty="0"/>
          </a:p>
          <a:p>
            <a:pPr marL="285750" indent="-285750" eaLnBrk="0" hangingPunct="0">
              <a:spcAft>
                <a:spcPts val="100"/>
              </a:spcAft>
              <a:buClr>
                <a:schemeClr val="accent2">
                  <a:lumMod val="75000"/>
                </a:schemeClr>
              </a:buClr>
              <a:buFont typeface="Wingdings 3" panose="05040102010807070707" pitchFamily="18" charset="2"/>
              <a:buChar char=""/>
              <a:defRPr/>
            </a:pPr>
            <a:r>
              <a:rPr lang="ru-RU" sz="1400" dirty="0"/>
              <a:t>уборщик производственных </a:t>
            </a:r>
            <a:r>
              <a:rPr lang="ru-RU" sz="1400" dirty="0"/>
              <a:t>и служебных помещений, </a:t>
            </a:r>
            <a:endParaRPr lang="ru-RU" sz="1400" dirty="0"/>
          </a:p>
          <a:p>
            <a:pPr marL="285750" indent="-285750" eaLnBrk="0" hangingPunct="0">
              <a:spcAft>
                <a:spcPts val="100"/>
              </a:spcAft>
              <a:buClr>
                <a:schemeClr val="accent2">
                  <a:lumMod val="75000"/>
                </a:schemeClr>
              </a:buClr>
              <a:buFont typeface="Wingdings 3" panose="05040102010807070707" pitchFamily="18" charset="2"/>
              <a:buChar char=""/>
              <a:defRPr/>
            </a:pPr>
            <a:r>
              <a:rPr lang="ru-RU" sz="1400" dirty="0"/>
              <a:t>швея</a:t>
            </a:r>
            <a:r>
              <a:rPr lang="ru-RU" sz="1400" dirty="0"/>
              <a:t>, </a:t>
            </a:r>
            <a:endParaRPr lang="ru-RU" sz="1400" dirty="0"/>
          </a:p>
          <a:p>
            <a:pPr marL="285750" indent="-285750" eaLnBrk="0" hangingPunct="0">
              <a:spcAft>
                <a:spcPts val="100"/>
              </a:spcAft>
              <a:buClr>
                <a:schemeClr val="accent2">
                  <a:lumMod val="75000"/>
                </a:schemeClr>
              </a:buClr>
              <a:buFont typeface="Wingdings 3" panose="05040102010807070707" pitchFamily="18" charset="2"/>
              <a:buChar char=""/>
              <a:defRPr/>
            </a:pPr>
            <a:r>
              <a:rPr lang="ru-RU" sz="1400" dirty="0"/>
              <a:t>водитель </a:t>
            </a:r>
            <a:r>
              <a:rPr lang="ru-RU" sz="1400" dirty="0"/>
              <a:t>автомобиля, </a:t>
            </a:r>
            <a:endParaRPr lang="ru-RU" sz="1400" dirty="0"/>
          </a:p>
          <a:p>
            <a:pPr marL="285750" indent="-285750" eaLnBrk="0" hangingPunct="0">
              <a:spcAft>
                <a:spcPts val="100"/>
              </a:spcAft>
              <a:buClr>
                <a:schemeClr val="accent2">
                  <a:lumMod val="75000"/>
                </a:schemeClr>
              </a:buClr>
              <a:buFont typeface="Wingdings 3" panose="05040102010807070707" pitchFamily="18" charset="2"/>
              <a:buChar char=""/>
              <a:defRPr/>
            </a:pPr>
            <a:r>
              <a:rPr lang="ru-RU" sz="1400" dirty="0"/>
              <a:t>повар</a:t>
            </a:r>
            <a:r>
              <a:rPr lang="ru-RU" sz="1400" dirty="0"/>
              <a:t>, </a:t>
            </a:r>
            <a:endParaRPr lang="ru-RU" sz="1400" dirty="0"/>
          </a:p>
          <a:p>
            <a:pPr marL="285750" indent="-285750" eaLnBrk="0" hangingPunct="0">
              <a:spcAft>
                <a:spcPts val="100"/>
              </a:spcAft>
              <a:buClr>
                <a:schemeClr val="accent2">
                  <a:lumMod val="75000"/>
                </a:schemeClr>
              </a:buClr>
              <a:buFont typeface="Wingdings 3" panose="05040102010807070707" pitchFamily="18" charset="2"/>
              <a:buChar char=""/>
              <a:defRPr/>
            </a:pPr>
            <a:r>
              <a:rPr lang="ru-RU" sz="1400" dirty="0"/>
              <a:t>токарь</a:t>
            </a:r>
            <a:r>
              <a:rPr lang="ru-RU" sz="1400" dirty="0"/>
              <a:t>, </a:t>
            </a:r>
            <a:endParaRPr lang="ru-RU" sz="1400" dirty="0"/>
          </a:p>
          <a:p>
            <a:pPr marL="285750" indent="-285750" eaLnBrk="0" hangingPunct="0">
              <a:spcAft>
                <a:spcPts val="100"/>
              </a:spcAft>
              <a:buClr>
                <a:schemeClr val="accent2">
                  <a:lumMod val="75000"/>
                </a:schemeClr>
              </a:buClr>
              <a:buFont typeface="Wingdings 3" panose="05040102010807070707" pitchFamily="18" charset="2"/>
              <a:buChar char=""/>
              <a:defRPr/>
            </a:pPr>
            <a:r>
              <a:rPr lang="ru-RU" sz="1400" dirty="0"/>
              <a:t>каменщик</a:t>
            </a:r>
            <a:r>
              <a:rPr lang="ru-RU" sz="1400" dirty="0"/>
              <a:t>, </a:t>
            </a:r>
            <a:endParaRPr lang="ru-RU" sz="1400" dirty="0"/>
          </a:p>
          <a:p>
            <a:pPr marL="285750" indent="-285750" eaLnBrk="0" hangingPunct="0">
              <a:spcAft>
                <a:spcPts val="100"/>
              </a:spcAft>
              <a:buClr>
                <a:schemeClr val="accent2">
                  <a:lumMod val="75000"/>
                </a:schemeClr>
              </a:buClr>
              <a:buFont typeface="Wingdings 3" panose="05040102010807070707" pitchFamily="18" charset="2"/>
              <a:buChar char=""/>
              <a:defRPr/>
            </a:pPr>
            <a:r>
              <a:rPr lang="ru-RU" sz="1400" dirty="0"/>
              <a:t>слесарь </a:t>
            </a:r>
            <a:r>
              <a:rPr lang="ru-RU" sz="1400" dirty="0"/>
              <a:t>механосборочных </a:t>
            </a:r>
            <a:r>
              <a:rPr lang="ru-RU" sz="1400" dirty="0"/>
              <a:t>работ</a:t>
            </a:r>
            <a:r>
              <a:rPr lang="ru-RU" sz="1400" b="1" dirty="0"/>
              <a:t> 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6227763" y="2936875"/>
            <a:ext cx="2447925" cy="181451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eaLnBrk="0" hangingPunct="0">
              <a:buClr>
                <a:schemeClr val="accent2">
                  <a:lumMod val="75000"/>
                </a:schemeClr>
              </a:buClr>
              <a:defRPr/>
            </a:pPr>
            <a:r>
              <a:rPr lang="ru-RU" sz="1600" b="1" dirty="0"/>
              <a:t>для </a:t>
            </a:r>
            <a:r>
              <a:rPr lang="ru-RU" sz="1600" b="1" dirty="0"/>
              <a:t>специалистов:</a:t>
            </a:r>
          </a:p>
          <a:p>
            <a:pPr marL="285750" indent="-285750" eaLnBrk="0" hangingPunct="0">
              <a:buClr>
                <a:schemeClr val="accent2">
                  <a:lumMod val="75000"/>
                </a:schemeClr>
              </a:buClr>
              <a:buFont typeface="Wingdings 3" panose="05040102010807070707" pitchFamily="18" charset="2"/>
              <a:buChar char=""/>
              <a:defRPr/>
            </a:pPr>
            <a:r>
              <a:rPr lang="ru-RU" sz="1600" dirty="0"/>
              <a:t>инженер по различным видам деятельности</a:t>
            </a:r>
            <a:r>
              <a:rPr lang="ru-RU" sz="1600" dirty="0"/>
              <a:t>,</a:t>
            </a:r>
          </a:p>
          <a:p>
            <a:pPr marL="285750" indent="-285750" eaLnBrk="0" hangingPunct="0">
              <a:buClr>
                <a:schemeClr val="accent2">
                  <a:lumMod val="75000"/>
                </a:schemeClr>
              </a:buClr>
              <a:buFont typeface="Wingdings 3" panose="05040102010807070707" pitchFamily="18" charset="2"/>
              <a:buChar char=""/>
              <a:defRPr/>
            </a:pPr>
            <a:r>
              <a:rPr lang="ru-RU" sz="1600" dirty="0"/>
              <a:t> </a:t>
            </a:r>
            <a:r>
              <a:rPr lang="ru-RU" sz="1600" dirty="0"/>
              <a:t>медицинская </a:t>
            </a:r>
            <a:r>
              <a:rPr lang="ru-RU" sz="1600" dirty="0"/>
              <a:t>сестра</a:t>
            </a:r>
            <a:r>
              <a:rPr lang="ru-RU" sz="1600" b="1" dirty="0"/>
              <a:t> </a:t>
            </a:r>
            <a:endParaRPr lang="ru-RU" sz="1600" dirty="0"/>
          </a:p>
          <a:p>
            <a:pPr eaLnBrk="0" hangingPunct="0">
              <a:buClr>
                <a:schemeClr val="accent2">
                  <a:lumMod val="75000"/>
                </a:schemeClr>
              </a:buClr>
              <a:defRPr/>
            </a:pPr>
            <a:r>
              <a:rPr lang="ru-RU" sz="1600" b="1" dirty="0"/>
              <a:t> </a:t>
            </a:r>
            <a:endParaRPr lang="ru-RU" sz="1600" b="1" dirty="0"/>
          </a:p>
          <a:p>
            <a:pPr eaLnBrk="0" hangingPunct="0">
              <a:buClr>
                <a:schemeClr val="accent2">
                  <a:lumMod val="75000"/>
                </a:schemeClr>
              </a:buClr>
              <a:defRPr/>
            </a:pPr>
            <a:endParaRPr lang="ru-RU" sz="1600" b="1" dirty="0"/>
          </a:p>
        </p:txBody>
      </p:sp>
      <p:sp>
        <p:nvSpPr>
          <p:cNvPr id="16" name="Стрелка вниз 15"/>
          <p:cNvSpPr/>
          <p:nvPr/>
        </p:nvSpPr>
        <p:spPr>
          <a:xfrm rot="1695672">
            <a:off x="5373688" y="2370138"/>
            <a:ext cx="423862" cy="477837"/>
          </a:xfrm>
          <a:prstGeom prst="downArrow">
            <a:avLst/>
          </a:prstGeom>
          <a:solidFill>
            <a:srgbClr val="C053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38" name="Стрелка вниз 37"/>
          <p:cNvSpPr/>
          <p:nvPr/>
        </p:nvSpPr>
        <p:spPr>
          <a:xfrm rot="19933171">
            <a:off x="6872288" y="2390775"/>
            <a:ext cx="363537" cy="488950"/>
          </a:xfrm>
          <a:prstGeom prst="downArrow">
            <a:avLst/>
          </a:prstGeom>
          <a:solidFill>
            <a:srgbClr val="C053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defRPr/>
            </a:pPr>
            <a:endParaRPr lang="ru-RU"/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623888" y="3284538"/>
            <a:ext cx="2139950" cy="0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407" name="Picture 2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084888" y="4491038"/>
            <a:ext cx="2636837" cy="168751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</p:pic>
    </p:spTree>
  </p:cSld>
  <p:clrMapOvr>
    <a:masterClrMapping/>
  </p:clrMapOvr>
  <p:transition spd="slow">
    <p:strips dir="ld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Прямоугольник 19"/>
          <p:cNvSpPr>
            <a:spLocks noChangeArrowheads="1"/>
          </p:cNvSpPr>
          <p:nvPr/>
        </p:nvSpPr>
        <p:spPr bwMode="auto">
          <a:xfrm>
            <a:off x="2346325" y="176213"/>
            <a:ext cx="6480175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700" b="1">
                <a:solidFill>
                  <a:schemeClr val="accent2"/>
                </a:solidFill>
              </a:rPr>
              <a:t>По данным ежегодного </a:t>
            </a:r>
            <a:r>
              <a:rPr lang="ru-RU" altLang="ru-RU" sz="1600" b="1">
                <a:solidFill>
                  <a:schemeClr val="accent2"/>
                </a:solidFill>
              </a:rPr>
              <a:t>мониторинга  состава выпускников образовательных организаций, обращающихся в органы службы занятости </a:t>
            </a:r>
            <a:r>
              <a:rPr lang="ru-RU" altLang="ru-RU" sz="1700" b="1">
                <a:solidFill>
                  <a:schemeClr val="accent2"/>
                </a:solidFill>
              </a:rPr>
              <a:t>стратегии работы: </a:t>
            </a:r>
          </a:p>
        </p:txBody>
      </p:sp>
      <p:sp>
        <p:nvSpPr>
          <p:cNvPr id="9219" name="Номер слайда 9"/>
          <p:cNvSpPr>
            <a:spLocks noGrp="1"/>
          </p:cNvSpPr>
          <p:nvPr>
            <p:ph type="sldNum" sz="quarter" idx="10"/>
          </p:nvPr>
        </p:nvSpPr>
        <p:spPr bwMode="auto">
          <a:xfrm>
            <a:off x="8388350" y="6594475"/>
            <a:ext cx="457200" cy="3635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kumimoji="0" lang="ru-RU" altLang="ru-RU" sz="1000" smtClean="0">
                <a:solidFill>
                  <a:srgbClr val="990000"/>
                </a:solidFill>
                <a:latin typeface="Arial" charset="0"/>
              </a:rPr>
              <a:t>3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kumimoji="0" lang="ru-RU" altLang="ru-RU" smtClean="0">
              <a:solidFill>
                <a:srgbClr val="990000"/>
              </a:solidFill>
              <a:latin typeface="Arial" charset="0"/>
            </a:endParaRPr>
          </a:p>
        </p:txBody>
      </p:sp>
      <p:sp>
        <p:nvSpPr>
          <p:cNvPr id="9220" name="TextBox 14"/>
          <p:cNvSpPr txBox="1">
            <a:spLocks noChangeArrowheads="1"/>
          </p:cNvSpPr>
          <p:nvPr/>
        </p:nvSpPr>
        <p:spPr bwMode="auto">
          <a:xfrm>
            <a:off x="7210425" y="3940175"/>
            <a:ext cx="1439863" cy="646113"/>
          </a:xfrm>
          <a:prstGeom prst="rect">
            <a:avLst/>
          </a:prstGeom>
          <a:gradFill rotWithShape="0">
            <a:gsLst>
              <a:gs pos="0">
                <a:srgbClr val="9AB5E4"/>
              </a:gs>
              <a:gs pos="50000">
                <a:srgbClr val="C2D1ED"/>
              </a:gs>
              <a:gs pos="100000">
                <a:srgbClr val="E1E8F5"/>
              </a:gs>
            </a:gsLst>
            <a:lin ang="162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20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обучение велось на бюджетной основе 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395288" y="1196975"/>
          <a:ext cx="8431212" cy="4670425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5C22544A-7EE6-4342-B048-85BDC9FD1C3A}</a:tableStyleId>
              </a:tblPr>
              <a:tblGrid>
                <a:gridCol w="1917796"/>
                <a:gridCol w="1493252"/>
                <a:gridCol w="1465585"/>
                <a:gridCol w="1297841"/>
                <a:gridCol w="2256738"/>
              </a:tblGrid>
              <a:tr h="583803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Образовательные учреждения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 gridSpan="3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Количество выпускников, обратившихся в службу занятости в целях поиска подходящей </a:t>
                      </a:r>
                      <a:r>
                        <a:rPr lang="ru-RU" sz="1200" dirty="0" smtClean="0">
                          <a:effectLst/>
                        </a:rPr>
                        <a:t>работы, человек 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Изменение кол-ва выпускников в 2019 г. по сравнению с </a:t>
                      </a:r>
                      <a:r>
                        <a:rPr lang="ru-RU" sz="1200" dirty="0" smtClean="0">
                          <a:effectLst/>
                        </a:rPr>
                        <a:t>2017 </a:t>
                      </a:r>
                      <a:r>
                        <a:rPr lang="ru-RU" sz="1200" dirty="0">
                          <a:effectLst/>
                        </a:rPr>
                        <a:t>г.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</a:tr>
              <a:tr h="38920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2"/>
                          </a:solidFill>
                          <a:effectLst/>
                        </a:rPr>
                        <a:t>2017 г.</a:t>
                      </a:r>
                      <a:endParaRPr lang="ru-RU" sz="1400" b="1" dirty="0">
                        <a:solidFill>
                          <a:schemeClr val="accent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2"/>
                          </a:solidFill>
                          <a:effectLst/>
                        </a:rPr>
                        <a:t>2018 г.</a:t>
                      </a:r>
                      <a:endParaRPr lang="ru-RU" sz="1400" b="1" dirty="0">
                        <a:solidFill>
                          <a:schemeClr val="accent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accent2"/>
                          </a:solidFill>
                          <a:effectLst/>
                        </a:rPr>
                        <a:t>2019 г.</a:t>
                      </a:r>
                      <a:endParaRPr lang="ru-RU" sz="1400" b="1" dirty="0">
                        <a:solidFill>
                          <a:schemeClr val="accent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7840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ВО</a:t>
                      </a:r>
                      <a:endParaRPr lang="ru-RU" sz="12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</a:rPr>
                        <a:t>99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</a:rPr>
                        <a:t>78 (17,8%)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</a:rPr>
                        <a:t>60 (13,4%)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нижение  количества выпускников на 39,4  %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</a:tr>
              <a:tr h="97300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СПО (программы подготовки специалистов среднего звена)</a:t>
                      </a:r>
                      <a:endParaRPr lang="ru-RU" sz="12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299</a:t>
                      </a:r>
                      <a:endParaRPr lang="ru-RU" sz="1400" b="1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</a:rPr>
                        <a:t>221 (50,</a:t>
                      </a:r>
                      <a:r>
                        <a:rPr lang="en-US" sz="1400" b="1" dirty="0" smtClean="0">
                          <a:effectLst/>
                        </a:rPr>
                        <a:t>3%)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</a:rPr>
                        <a:t>239 (53,7%)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нижение количества выпускников на  20,1%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</a:tr>
              <a:tr h="116760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СПО (программы подготовки квалифицированных рабочих, служащих)</a:t>
                      </a:r>
                      <a:endParaRPr lang="ru-RU" sz="12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</a:rPr>
                        <a:t>281</a:t>
                      </a:r>
                      <a:endParaRPr lang="ru-RU" sz="1400" b="1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</a:rPr>
                        <a:t>140</a:t>
                      </a:r>
                      <a:r>
                        <a:rPr lang="en-US" sz="1400" b="1" dirty="0" smtClean="0">
                          <a:effectLst/>
                        </a:rPr>
                        <a:t> (31</a:t>
                      </a:r>
                      <a:r>
                        <a:rPr lang="ru-RU" sz="1400" b="1" dirty="0" smtClean="0">
                          <a:effectLst/>
                        </a:rPr>
                        <a:t>,</a:t>
                      </a:r>
                      <a:r>
                        <a:rPr lang="en-US" sz="1400" b="1" dirty="0" smtClean="0">
                          <a:effectLst/>
                        </a:rPr>
                        <a:t>9%)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</a:rPr>
                        <a:t>146 (32,8%)</a:t>
                      </a:r>
                      <a:endParaRPr lang="ru-RU" sz="14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снижение количества выпускников на  64,6%</a:t>
                      </a:r>
                      <a:endParaRPr lang="ru-RU" sz="12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</a:tr>
              <a:tr h="77840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Всего</a:t>
                      </a:r>
                      <a:endParaRPr lang="ru-RU" sz="120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</a:rPr>
                        <a:t>679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</a:rPr>
                        <a:t>439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</a:rPr>
                        <a:t>445</a:t>
                      </a:r>
                      <a:endParaRPr lang="ru-RU" sz="16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нижение количества выпускников на  34,5%</a:t>
                      </a:r>
                      <a:endParaRPr lang="ru-RU" sz="12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60613" marR="60613" marT="0" marB="0" anchor="ctr"/>
                </a:tc>
              </a:tr>
            </a:tbl>
          </a:graphicData>
        </a:graphic>
      </p:graphicFrame>
      <p:sp>
        <p:nvSpPr>
          <p:cNvPr id="9267" name="Rectangle 1"/>
          <p:cNvSpPr>
            <a:spLocks noChangeArrowheads="1"/>
          </p:cNvSpPr>
          <p:nvPr/>
        </p:nvSpPr>
        <p:spPr bwMode="auto">
          <a:xfrm>
            <a:off x="1835150" y="16002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indent="450850"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</p:spTree>
  </p:cSld>
  <p:clrMapOvr>
    <a:masterClrMapping/>
  </p:clrMapOvr>
  <p:transition spd="slow" advTm="3000">
    <p:wipe dir="d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Прямоугольник 19"/>
          <p:cNvSpPr>
            <a:spLocks noChangeArrowheads="1"/>
          </p:cNvSpPr>
          <p:nvPr/>
        </p:nvSpPr>
        <p:spPr bwMode="auto">
          <a:xfrm>
            <a:off x="2346325" y="176213"/>
            <a:ext cx="6480175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700" b="1">
                <a:solidFill>
                  <a:schemeClr val="accent2"/>
                </a:solidFill>
              </a:rPr>
              <a:t>По данным ежегодного </a:t>
            </a:r>
            <a:r>
              <a:rPr lang="ru-RU" altLang="ru-RU" sz="1600" b="1">
                <a:solidFill>
                  <a:schemeClr val="accent2"/>
                </a:solidFill>
              </a:rPr>
              <a:t>мониторинга  состава выпускников образовательных организаций, обращающихся в органы службы занятости </a:t>
            </a:r>
            <a:r>
              <a:rPr lang="ru-RU" altLang="ru-RU" sz="1700" b="1">
                <a:solidFill>
                  <a:schemeClr val="accent2"/>
                </a:solidFill>
              </a:rPr>
              <a:t>стратегии работы: </a:t>
            </a:r>
          </a:p>
        </p:txBody>
      </p:sp>
      <p:sp>
        <p:nvSpPr>
          <p:cNvPr id="10243" name="Номер слайда 9"/>
          <p:cNvSpPr>
            <a:spLocks noGrp="1"/>
          </p:cNvSpPr>
          <p:nvPr>
            <p:ph type="sldNum" sz="quarter" idx="10"/>
          </p:nvPr>
        </p:nvSpPr>
        <p:spPr bwMode="auto">
          <a:xfrm>
            <a:off x="8388350" y="6594475"/>
            <a:ext cx="457200" cy="3635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kumimoji="0" lang="ru-RU" altLang="ru-RU" sz="1000" smtClean="0">
                <a:solidFill>
                  <a:srgbClr val="990000"/>
                </a:solidFill>
              </a:rPr>
              <a:t>4</a:t>
            </a:r>
            <a:endParaRPr kumimoji="0" lang="ru-RU" altLang="ru-RU" sz="1000" smtClean="0">
              <a:solidFill>
                <a:srgbClr val="990000"/>
              </a:solidFill>
              <a:latin typeface="Arial" charset="0"/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kumimoji="0" lang="ru-RU" altLang="ru-RU" smtClean="0">
              <a:solidFill>
                <a:srgbClr val="990000"/>
              </a:solidFill>
              <a:latin typeface="Arial" charset="0"/>
            </a:endParaRPr>
          </a:p>
        </p:txBody>
      </p:sp>
      <p:sp>
        <p:nvSpPr>
          <p:cNvPr id="10244" name="Rectangle 1"/>
          <p:cNvSpPr>
            <a:spLocks noChangeArrowheads="1"/>
          </p:cNvSpPr>
          <p:nvPr/>
        </p:nvSpPr>
        <p:spPr bwMode="auto">
          <a:xfrm>
            <a:off x="1835150" y="16002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indent="450850"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827088" y="1422400"/>
            <a:ext cx="7921625" cy="43386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>
              <a:spcBef>
                <a:spcPct val="0"/>
              </a:spcBef>
              <a:buFontTx/>
              <a:buNone/>
            </a:pPr>
            <a:r>
              <a:rPr lang="ru-RU" altLang="ru-RU" sz="1400">
                <a:latin typeface="Times New Roman" pitchFamily="18" charset="0"/>
              </a:rPr>
              <a:t>	Среди выпускников традиционно преобладают молодые специалисты </a:t>
            </a:r>
            <a:r>
              <a:rPr lang="ru-RU" altLang="ru-RU" sz="1600">
                <a:latin typeface="Times New Roman" pitchFamily="18" charset="0"/>
              </a:rPr>
              <a:t>с </a:t>
            </a:r>
            <a:r>
              <a:rPr lang="ru-RU" altLang="ru-RU" sz="1600" b="1">
                <a:latin typeface="Times New Roman" pitchFamily="18" charset="0"/>
              </a:rPr>
              <a:t>образованием в области наук об обществе.</a:t>
            </a:r>
            <a:r>
              <a:rPr lang="ru-RU" altLang="ru-RU" sz="1600">
                <a:latin typeface="Times New Roman" pitchFamily="18" charset="0"/>
              </a:rPr>
              <a:t> </a:t>
            </a:r>
            <a:r>
              <a:rPr lang="ru-RU" altLang="ru-RU" sz="1400">
                <a:latin typeface="Times New Roman" pitchFamily="18" charset="0"/>
              </a:rPr>
              <a:t>В 2019 году их доля среди всех выпускников ПОО, обучавшихся по программам специалистов среднего звена, обратившихся в ОСЗН за содействием в поиске подходящей работы, составила </a:t>
            </a:r>
            <a:r>
              <a:rPr lang="ru-RU" altLang="ru-RU" sz="1600" b="1">
                <a:latin typeface="Times New Roman" pitchFamily="18" charset="0"/>
              </a:rPr>
              <a:t>42,7%</a:t>
            </a:r>
            <a:r>
              <a:rPr lang="ru-RU" altLang="ru-RU" sz="1600">
                <a:latin typeface="Times New Roman" pitchFamily="18" charset="0"/>
              </a:rPr>
              <a:t>. </a:t>
            </a:r>
          </a:p>
          <a:p>
            <a:pPr algn="just">
              <a:spcBef>
                <a:spcPct val="0"/>
              </a:spcBef>
              <a:buFont typeface="Wingdings" pitchFamily="2" charset="2"/>
              <a:buChar char="Ø"/>
            </a:pP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экономика и управление  </a:t>
            </a:r>
            <a:r>
              <a:rPr lang="ru-RU" altLang="ru-RU" sz="1400" i="1">
                <a:solidFill>
                  <a:schemeClr val="tx2"/>
                </a:solidFill>
              </a:rPr>
              <a:t>–</a:t>
            </a: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 50 чел. (в 2018 году </a:t>
            </a:r>
            <a:r>
              <a:rPr lang="ru-RU" altLang="ru-RU" sz="1400" i="1">
                <a:solidFill>
                  <a:schemeClr val="tx2"/>
                </a:solidFill>
              </a:rPr>
              <a:t>–</a:t>
            </a: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 40 чел.),  </a:t>
            </a:r>
          </a:p>
          <a:p>
            <a:pPr algn="just">
              <a:spcBef>
                <a:spcPct val="0"/>
              </a:spcBef>
              <a:buFont typeface="Wingdings" pitchFamily="2" charset="2"/>
              <a:buChar char="Ø"/>
            </a:pP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сервис и туризм </a:t>
            </a:r>
            <a:r>
              <a:rPr lang="ru-RU" altLang="ru-RU" sz="1400" i="1">
                <a:solidFill>
                  <a:schemeClr val="tx2"/>
                </a:solidFill>
              </a:rPr>
              <a:t>–</a:t>
            </a: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 18 чел. (в 2018 году </a:t>
            </a:r>
            <a:r>
              <a:rPr lang="ru-RU" altLang="ru-RU" sz="1400" i="1">
                <a:solidFill>
                  <a:schemeClr val="tx2"/>
                </a:solidFill>
              </a:rPr>
              <a:t>–</a:t>
            </a: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 19 чел.), </a:t>
            </a:r>
          </a:p>
          <a:p>
            <a:pPr algn="just">
              <a:spcBef>
                <a:spcPct val="0"/>
              </a:spcBef>
              <a:buFont typeface="Wingdings" pitchFamily="2" charset="2"/>
              <a:buChar char="Ø"/>
            </a:pP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социология и юриспруденция </a:t>
            </a:r>
            <a:r>
              <a:rPr lang="ru-RU" altLang="ru-RU" sz="1400" i="1">
                <a:solidFill>
                  <a:schemeClr val="tx2"/>
                </a:solidFill>
              </a:rPr>
              <a:t>–</a:t>
            </a: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 18 чел. (в 2018 году </a:t>
            </a:r>
            <a:r>
              <a:rPr lang="ru-RU" altLang="ru-RU" sz="1400" i="1">
                <a:solidFill>
                  <a:schemeClr val="tx2"/>
                </a:solidFill>
              </a:rPr>
              <a:t>–</a:t>
            </a: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 15 чел.),   </a:t>
            </a:r>
          </a:p>
          <a:p>
            <a:pPr algn="just">
              <a:spcBef>
                <a:spcPct val="0"/>
              </a:spcBef>
              <a:buFont typeface="Wingdings" pitchFamily="2" charset="2"/>
              <a:buChar char="Ø"/>
            </a:pP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средства массовой информации и библиотечное дело </a:t>
            </a:r>
            <a:r>
              <a:rPr lang="ru-RU" altLang="ru-RU" sz="1400" i="1">
                <a:solidFill>
                  <a:schemeClr val="tx2"/>
                </a:solidFill>
              </a:rPr>
              <a:t>–</a:t>
            </a: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 10 чел. (в 2018 году </a:t>
            </a:r>
            <a:r>
              <a:rPr lang="ru-RU" altLang="ru-RU" sz="1400" i="1">
                <a:solidFill>
                  <a:schemeClr val="tx2"/>
                </a:solidFill>
              </a:rPr>
              <a:t>–</a:t>
            </a: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 10 чел.). </a:t>
            </a:r>
            <a:endParaRPr lang="ru-RU" altLang="ru-RU" sz="900">
              <a:solidFill>
                <a:schemeClr val="tx2"/>
              </a:solidFill>
            </a:endParaRPr>
          </a:p>
          <a:p>
            <a:pPr algn="just">
              <a:spcBef>
                <a:spcPct val="0"/>
              </a:spcBef>
              <a:buFont typeface="Wingdings" pitchFamily="2" charset="2"/>
              <a:buChar char="Ø"/>
            </a:pPr>
            <a:r>
              <a:rPr lang="ru-RU" altLang="ru-RU" sz="1400">
                <a:solidFill>
                  <a:schemeClr val="tx2"/>
                </a:solidFill>
                <a:latin typeface="Times New Roman" pitchFamily="18" charset="0"/>
              </a:rPr>
              <a:t> </a:t>
            </a:r>
            <a:endParaRPr lang="ru-RU" altLang="ru-RU" sz="900">
              <a:solidFill>
                <a:schemeClr val="tx2"/>
              </a:solidFill>
            </a:endParaRPr>
          </a:p>
          <a:p>
            <a:pPr algn="just">
              <a:spcBef>
                <a:spcPct val="0"/>
              </a:spcBef>
              <a:buFontTx/>
              <a:buNone/>
            </a:pPr>
            <a:r>
              <a:rPr lang="ru-RU" altLang="ru-RU" sz="1400">
                <a:latin typeface="Times New Roman" pitchFamily="18" charset="0"/>
              </a:rPr>
              <a:t>На втором месте молодые </a:t>
            </a:r>
            <a:r>
              <a:rPr lang="ru-RU" altLang="ru-RU" sz="1600">
                <a:latin typeface="Times New Roman" pitchFamily="18" charset="0"/>
              </a:rPr>
              <a:t>специалисты </a:t>
            </a:r>
            <a:r>
              <a:rPr lang="ru-RU" altLang="ru-RU" sz="1600" b="1">
                <a:latin typeface="Times New Roman" pitchFamily="18" charset="0"/>
              </a:rPr>
              <a:t>с техническими специальностями и специальностями в области инженерного дела и технологий  </a:t>
            </a:r>
            <a:r>
              <a:rPr lang="ru-RU" altLang="ru-RU" sz="1600" b="1"/>
              <a:t>–</a:t>
            </a:r>
            <a:r>
              <a:rPr lang="ru-RU" altLang="ru-RU" sz="1600" b="1">
                <a:latin typeface="Times New Roman" pitchFamily="18" charset="0"/>
              </a:rPr>
              <a:t> 34,3%.</a:t>
            </a:r>
            <a:endParaRPr lang="ru-RU" altLang="ru-RU" sz="1600" b="1"/>
          </a:p>
          <a:p>
            <a:pPr algn="just">
              <a:spcBef>
                <a:spcPct val="0"/>
              </a:spcBef>
              <a:buFont typeface="Wingdings" pitchFamily="2" charset="2"/>
              <a:buChar char="Ø"/>
            </a:pP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информатика и вычислительная техника </a:t>
            </a:r>
            <a:r>
              <a:rPr lang="ru-RU" altLang="ru-RU" sz="1400" i="1">
                <a:solidFill>
                  <a:schemeClr val="tx2"/>
                </a:solidFill>
              </a:rPr>
              <a:t>–</a:t>
            </a: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 22 чел. (в 2018 году </a:t>
            </a:r>
            <a:r>
              <a:rPr lang="ru-RU" altLang="ru-RU" sz="1400" i="1">
                <a:solidFill>
                  <a:schemeClr val="tx2"/>
                </a:solidFill>
              </a:rPr>
              <a:t>–</a:t>
            </a: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 25 чел.), </a:t>
            </a:r>
          </a:p>
          <a:p>
            <a:pPr algn="just">
              <a:spcBef>
                <a:spcPct val="0"/>
              </a:spcBef>
              <a:buFont typeface="Wingdings" pitchFamily="2" charset="2"/>
              <a:buChar char="Ø"/>
            </a:pP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техника и технология наземного транспорта </a:t>
            </a:r>
            <a:r>
              <a:rPr lang="ru-RU" altLang="ru-RU" sz="1400" i="1">
                <a:solidFill>
                  <a:schemeClr val="tx2"/>
                </a:solidFill>
              </a:rPr>
              <a:t>–</a:t>
            </a: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 16 чел. (в 2018 году </a:t>
            </a:r>
            <a:r>
              <a:rPr lang="ru-RU" altLang="ru-RU" sz="1400" i="1">
                <a:solidFill>
                  <a:schemeClr val="tx2"/>
                </a:solidFill>
              </a:rPr>
              <a:t>–</a:t>
            </a: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 2 чел.), </a:t>
            </a:r>
          </a:p>
          <a:p>
            <a:pPr algn="just">
              <a:spcBef>
                <a:spcPct val="0"/>
              </a:spcBef>
              <a:buFont typeface="Wingdings" pitchFamily="2" charset="2"/>
              <a:buChar char="Ø"/>
            </a:pP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архитектура и технологии строительства </a:t>
            </a:r>
            <a:r>
              <a:rPr lang="ru-RU" altLang="ru-RU" sz="1400" i="1">
                <a:solidFill>
                  <a:schemeClr val="tx2"/>
                </a:solidFill>
              </a:rPr>
              <a:t>–</a:t>
            </a: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 8 чел. (в 2018  году </a:t>
            </a:r>
            <a:r>
              <a:rPr lang="ru-RU" altLang="ru-RU" sz="1400" i="1">
                <a:solidFill>
                  <a:schemeClr val="tx2"/>
                </a:solidFill>
              </a:rPr>
              <a:t>–</a:t>
            </a: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 9 чел.), </a:t>
            </a:r>
          </a:p>
          <a:p>
            <a:pPr algn="just">
              <a:spcBef>
                <a:spcPct val="0"/>
              </a:spcBef>
              <a:buFont typeface="Wingdings" pitchFamily="2" charset="2"/>
              <a:buChar char="Ø"/>
            </a:pP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прикладная геология </a:t>
            </a:r>
            <a:r>
              <a:rPr lang="ru-RU" altLang="ru-RU" sz="1400" i="1">
                <a:solidFill>
                  <a:schemeClr val="tx2"/>
                </a:solidFill>
              </a:rPr>
              <a:t>–</a:t>
            </a: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 7 чел. (2018 году </a:t>
            </a:r>
            <a:r>
              <a:rPr lang="ru-RU" altLang="ru-RU" sz="1400" i="1">
                <a:solidFill>
                  <a:schemeClr val="tx2"/>
                </a:solidFill>
              </a:rPr>
              <a:t>–</a:t>
            </a:r>
            <a:r>
              <a:rPr lang="ru-RU" altLang="ru-RU" sz="1400" i="1">
                <a:solidFill>
                  <a:schemeClr val="tx2"/>
                </a:solidFill>
                <a:latin typeface="Times New Roman" pitchFamily="18" charset="0"/>
              </a:rPr>
              <a:t> 5 чел.).</a:t>
            </a:r>
            <a:endParaRPr lang="ru-RU" altLang="ru-RU" sz="900">
              <a:solidFill>
                <a:schemeClr val="tx2"/>
              </a:solidFill>
            </a:endParaRPr>
          </a:p>
          <a:p>
            <a:pPr algn="just">
              <a:spcBef>
                <a:spcPct val="0"/>
              </a:spcBef>
              <a:buFontTx/>
              <a:buNone/>
            </a:pPr>
            <a:endParaRPr lang="ru-RU" altLang="ru-RU" sz="1400">
              <a:latin typeface="Times New Roman" pitchFamily="18" charset="0"/>
            </a:endParaRPr>
          </a:p>
          <a:p>
            <a:pPr algn="just">
              <a:spcBef>
                <a:spcPct val="0"/>
              </a:spcBef>
              <a:buFontTx/>
              <a:buNone/>
            </a:pPr>
            <a:r>
              <a:rPr lang="ru-RU" altLang="ru-RU" sz="1400">
                <a:latin typeface="Times New Roman" pitchFamily="18" charset="0"/>
              </a:rPr>
              <a:t>В первую тройку также вошли молодые  специалисты с образованием </a:t>
            </a:r>
            <a:r>
              <a:rPr lang="ru-RU" altLang="ru-RU" sz="1600">
                <a:latin typeface="Times New Roman" pitchFamily="18" charset="0"/>
              </a:rPr>
              <a:t>в </a:t>
            </a:r>
            <a:r>
              <a:rPr lang="ru-RU" altLang="ru-RU" sz="1600" b="1">
                <a:latin typeface="Times New Roman" pitchFamily="18" charset="0"/>
              </a:rPr>
              <a:t>области образования и педагогических наук</a:t>
            </a:r>
            <a:r>
              <a:rPr lang="ru-RU" altLang="ru-RU" sz="1400" b="1">
                <a:latin typeface="Times New Roman" pitchFamily="18" charset="0"/>
              </a:rPr>
              <a:t> </a:t>
            </a:r>
            <a:r>
              <a:rPr lang="ru-RU" altLang="ru-RU" sz="1400"/>
              <a:t>–</a:t>
            </a:r>
            <a:r>
              <a:rPr lang="ru-RU" altLang="ru-RU" sz="1400">
                <a:latin typeface="Times New Roman" pitchFamily="18" charset="0"/>
              </a:rPr>
              <a:t> 25 чел. (в 2018 году </a:t>
            </a:r>
            <a:r>
              <a:rPr lang="ru-RU" altLang="ru-RU" sz="1400"/>
              <a:t>–</a:t>
            </a:r>
            <a:r>
              <a:rPr lang="ru-RU" altLang="ru-RU" sz="1400">
                <a:latin typeface="Times New Roman" pitchFamily="18" charset="0"/>
              </a:rPr>
              <a:t> 28 чел.). </a:t>
            </a:r>
            <a:endParaRPr lang="ru-RU" altLang="ru-RU" sz="900"/>
          </a:p>
        </p:txBody>
      </p:sp>
      <p:sp>
        <p:nvSpPr>
          <p:cNvPr id="10246" name="AutoShape 7"/>
          <p:cNvSpPr>
            <a:spLocks noChangeArrowheads="1"/>
          </p:cNvSpPr>
          <p:nvPr/>
        </p:nvSpPr>
        <p:spPr bwMode="auto">
          <a:xfrm>
            <a:off x="53975" y="1241425"/>
            <a:ext cx="171450" cy="180975"/>
          </a:xfrm>
          <a:prstGeom prst="flowChartConnector">
            <a:avLst/>
          </a:prstGeom>
          <a:solidFill>
            <a:srgbClr val="C0504D"/>
          </a:solidFill>
          <a:ln w="38100">
            <a:solidFill>
              <a:srgbClr val="F2F2F2"/>
            </a:solidFill>
            <a:round/>
            <a:headEnd/>
            <a:tailEnd/>
          </a:ln>
          <a:effectLst>
            <a:outerShdw dist="28398" dir="3806097" algn="ctr" rotWithShape="0">
              <a:srgbClr val="622423">
                <a:alpha val="50000"/>
              </a:srgbClr>
            </a:outerShdw>
          </a:effec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ru-RU" altLang="ru-RU"/>
          </a:p>
        </p:txBody>
      </p:sp>
    </p:spTree>
  </p:cSld>
  <p:clrMapOvr>
    <a:masterClrMapping/>
  </p:clrMapOvr>
  <p:transition spd="slow" advTm="3000">
    <p:wipe dir="d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Прямоугольник 19"/>
          <p:cNvSpPr>
            <a:spLocks noChangeArrowheads="1"/>
          </p:cNvSpPr>
          <p:nvPr/>
        </p:nvSpPr>
        <p:spPr bwMode="auto">
          <a:xfrm>
            <a:off x="2346325" y="176213"/>
            <a:ext cx="6480175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1700" b="1">
                <a:solidFill>
                  <a:schemeClr val="accent2"/>
                </a:solidFill>
              </a:rPr>
              <a:t>По данным ежегодного </a:t>
            </a:r>
            <a:r>
              <a:rPr lang="ru-RU" altLang="ru-RU" sz="1600" b="1">
                <a:solidFill>
                  <a:schemeClr val="accent2"/>
                </a:solidFill>
              </a:rPr>
              <a:t>мониторинга  состава выпускников образовательных организаций, обращающихся в органы службы занятости </a:t>
            </a:r>
            <a:r>
              <a:rPr lang="ru-RU" altLang="ru-RU" sz="1700" b="1">
                <a:solidFill>
                  <a:schemeClr val="accent2"/>
                </a:solidFill>
              </a:rPr>
              <a:t>стратегии работы: </a:t>
            </a:r>
          </a:p>
        </p:txBody>
      </p:sp>
      <p:sp>
        <p:nvSpPr>
          <p:cNvPr id="11267" name="Номер слайда 9"/>
          <p:cNvSpPr>
            <a:spLocks noGrp="1"/>
          </p:cNvSpPr>
          <p:nvPr>
            <p:ph type="sldNum" sz="quarter" idx="10"/>
          </p:nvPr>
        </p:nvSpPr>
        <p:spPr bwMode="auto">
          <a:xfrm>
            <a:off x="8388350" y="6594475"/>
            <a:ext cx="457200" cy="3635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kumimoji="0" lang="ru-RU" altLang="ru-RU" sz="1000" smtClean="0">
                <a:solidFill>
                  <a:srgbClr val="990000"/>
                </a:solidFill>
                <a:latin typeface="Arial" charset="0"/>
              </a:rPr>
              <a:t>5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kumimoji="0" lang="ru-RU" altLang="ru-RU" smtClean="0">
              <a:solidFill>
                <a:srgbClr val="990000"/>
              </a:solidFill>
              <a:latin typeface="Arial" charset="0"/>
            </a:endParaRPr>
          </a:p>
        </p:txBody>
      </p:sp>
      <p:sp>
        <p:nvSpPr>
          <p:cNvPr id="11268" name="Rectangle 1"/>
          <p:cNvSpPr>
            <a:spLocks noChangeArrowheads="1"/>
          </p:cNvSpPr>
          <p:nvPr/>
        </p:nvSpPr>
        <p:spPr bwMode="auto">
          <a:xfrm>
            <a:off x="1835150" y="160020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indent="450850"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755650" y="1412875"/>
          <a:ext cx="7920038" cy="281781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22576"/>
                <a:gridCol w="1629631"/>
                <a:gridCol w="1645255"/>
                <a:gridCol w="2322576"/>
              </a:tblGrid>
              <a:tr h="550146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Уровень образования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Кол-во выпускников, обратившихся в 2019 г. в целях поиска подходящей работы (чел.)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Кол-во выпускников, состоящих на учете в качестве безработных на 01.01.2020 (чел.)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Трудоустроено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/>
                </a:tc>
              </a:tr>
              <a:tr h="6475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Всего (чел.)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/>
                </a:tc>
              </a:tr>
              <a:tr h="25071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ВО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60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0 (16,7%)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3 (55%)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</a:tr>
              <a:tr h="85606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СПО (специалисты среднего звена)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39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52 (21,8%)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17(49%)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</a:tr>
              <a:tr h="51331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ПО (квалифицированные рабочие, служащие)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146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57 (39%)</a:t>
                      </a:r>
                      <a:endParaRPr lang="ru-RU" sz="120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9 (26,7%)</a:t>
                      </a:r>
                      <a:endParaRPr lang="ru-RU" sz="1200" dirty="0">
                        <a:effectLst/>
                        <a:latin typeface="Times New Roman"/>
                        <a:ea typeface="Times New Roman"/>
                      </a:endParaRPr>
                    </a:p>
                  </a:txBody>
                  <a:tcPr marL="68573" marR="68573" marT="0" marB="0" anchor="ctr"/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755650" y="4365625"/>
            <a:ext cx="7920038" cy="166211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  <a:defRPr/>
            </a:pPr>
            <a:r>
              <a:rPr lang="ru-RU" sz="1400" dirty="0"/>
              <a:t>В 2019 году </a:t>
            </a:r>
            <a:r>
              <a:rPr lang="ru-RU" sz="1400" b="1" dirty="0"/>
              <a:t>доля трудоустроенных</a:t>
            </a:r>
            <a:r>
              <a:rPr lang="ru-RU" sz="1400" dirty="0"/>
              <a:t> выпускников всех уровней образования  составила </a:t>
            </a:r>
            <a:r>
              <a:rPr lang="ru-RU" sz="1400" b="1" dirty="0"/>
              <a:t>42,5%  </a:t>
            </a:r>
            <a:r>
              <a:rPr lang="ru-RU" sz="1400" dirty="0"/>
              <a:t>от общего количества  выпускников, обратившихся за содействием в поиске подходящей работы (в 2018 году – 35,8%). </a:t>
            </a:r>
          </a:p>
          <a:p>
            <a:pPr marL="285750" indent="-285750" algn="just">
              <a:buFont typeface="Wingdings" panose="05000000000000000000" pitchFamily="2" charset="2"/>
              <a:buChar char="Ø"/>
              <a:defRPr/>
            </a:pPr>
            <a:r>
              <a:rPr lang="ru-RU" sz="1400" dirty="0"/>
              <a:t>Доля выпускников, трудоустроенных  </a:t>
            </a:r>
            <a:r>
              <a:rPr lang="ru-RU" sz="1400" b="1" dirty="0"/>
              <a:t>по специальности, составила 44% </a:t>
            </a:r>
          </a:p>
          <a:p>
            <a:pPr marL="285750" indent="-285750" algn="just">
              <a:buFont typeface="Wingdings" panose="05000000000000000000" pitchFamily="2" charset="2"/>
              <a:buChar char="Ø"/>
              <a:defRPr/>
            </a:pPr>
            <a:r>
              <a:rPr lang="ru-RU" sz="1400" dirty="0"/>
              <a:t>В </a:t>
            </a:r>
            <a:r>
              <a:rPr lang="ru-RU" sz="1400" b="1" dirty="0"/>
              <a:t>наиболее короткий срок</a:t>
            </a:r>
            <a:r>
              <a:rPr lang="ru-RU" sz="1400" dirty="0"/>
              <a:t> в 2019 году трудоустраивались выпускники со средним профессиональным </a:t>
            </a:r>
            <a:r>
              <a:rPr lang="ru-RU" sz="1400" b="1" dirty="0"/>
              <a:t>образованием в области экономики и управления, общественных наук.</a:t>
            </a:r>
            <a:endParaRPr lang="ru-RU" sz="1400" dirty="0"/>
          </a:p>
          <a:p>
            <a:pPr>
              <a:defRPr/>
            </a:pPr>
            <a:r>
              <a:rPr lang="ru-RU" dirty="0"/>
              <a:t> </a:t>
            </a:r>
          </a:p>
        </p:txBody>
      </p:sp>
    </p:spTree>
  </p:cSld>
  <p:clrMapOvr>
    <a:masterClrMapping/>
  </p:clrMapOvr>
  <p:transition spd="slow" advTm="3000">
    <p:wipe dir="d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6" name="Прямая соединительная линия 65"/>
          <p:cNvCxnSpPr/>
          <p:nvPr/>
        </p:nvCxnSpPr>
        <p:spPr bwMode="auto">
          <a:xfrm>
            <a:off x="0" y="1028700"/>
            <a:ext cx="6858000" cy="4763"/>
          </a:xfrm>
          <a:prstGeom prst="line">
            <a:avLst/>
          </a:prstGeom>
          <a:ln w="28575">
            <a:solidFill>
              <a:srgbClr val="0066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2"/>
          <p:cNvSpPr/>
          <p:nvPr/>
        </p:nvSpPr>
        <p:spPr>
          <a:xfrm>
            <a:off x="2132013" y="-7938"/>
            <a:ext cx="7011987" cy="1036638"/>
          </a:xfrm>
          <a:custGeom>
            <a:avLst/>
            <a:gdLst>
              <a:gd name="connsiteX0" fmla="*/ 0 w 6336704"/>
              <a:gd name="connsiteY0" fmla="*/ 0 h 771550"/>
              <a:gd name="connsiteX1" fmla="*/ 6336704 w 6336704"/>
              <a:gd name="connsiteY1" fmla="*/ 0 h 771550"/>
              <a:gd name="connsiteX2" fmla="*/ 6336704 w 6336704"/>
              <a:gd name="connsiteY2" fmla="*/ 771550 h 771550"/>
              <a:gd name="connsiteX3" fmla="*/ 0 w 6336704"/>
              <a:gd name="connsiteY3" fmla="*/ 771550 h 771550"/>
              <a:gd name="connsiteX4" fmla="*/ 0 w 6336704"/>
              <a:gd name="connsiteY4" fmla="*/ 0 h 771550"/>
              <a:gd name="connsiteX0" fmla="*/ 704427 w 6336704"/>
              <a:gd name="connsiteY0" fmla="*/ 0 h 778324"/>
              <a:gd name="connsiteX1" fmla="*/ 6336704 w 6336704"/>
              <a:gd name="connsiteY1" fmla="*/ 6774 h 778324"/>
              <a:gd name="connsiteX2" fmla="*/ 6336704 w 6336704"/>
              <a:gd name="connsiteY2" fmla="*/ 778324 h 778324"/>
              <a:gd name="connsiteX3" fmla="*/ 0 w 6336704"/>
              <a:gd name="connsiteY3" fmla="*/ 778324 h 778324"/>
              <a:gd name="connsiteX4" fmla="*/ 704427 w 6336704"/>
              <a:gd name="connsiteY4" fmla="*/ 0 h 778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36704" h="778324">
                <a:moveTo>
                  <a:pt x="704427" y="0"/>
                </a:moveTo>
                <a:lnTo>
                  <a:pt x="6336704" y="6774"/>
                </a:lnTo>
                <a:lnTo>
                  <a:pt x="6336704" y="778324"/>
                </a:lnTo>
                <a:lnTo>
                  <a:pt x="0" y="778324"/>
                </a:lnTo>
                <a:lnTo>
                  <a:pt x="704427" y="0"/>
                </a:lnTo>
                <a:close/>
              </a:path>
            </a:pathLst>
          </a:custGeom>
          <a:solidFill>
            <a:srgbClr val="0066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 dirty="0"/>
          </a:p>
        </p:txBody>
      </p:sp>
      <p:sp>
        <p:nvSpPr>
          <p:cNvPr id="68" name="Прямоугольник 2"/>
          <p:cNvSpPr/>
          <p:nvPr/>
        </p:nvSpPr>
        <p:spPr>
          <a:xfrm>
            <a:off x="2149475" y="31750"/>
            <a:ext cx="6994525" cy="1039813"/>
          </a:xfrm>
          <a:custGeom>
            <a:avLst/>
            <a:gdLst>
              <a:gd name="connsiteX0" fmla="*/ 0 w 6336704"/>
              <a:gd name="connsiteY0" fmla="*/ 0 h 771550"/>
              <a:gd name="connsiteX1" fmla="*/ 6336704 w 6336704"/>
              <a:gd name="connsiteY1" fmla="*/ 0 h 771550"/>
              <a:gd name="connsiteX2" fmla="*/ 6336704 w 6336704"/>
              <a:gd name="connsiteY2" fmla="*/ 771550 h 771550"/>
              <a:gd name="connsiteX3" fmla="*/ 0 w 6336704"/>
              <a:gd name="connsiteY3" fmla="*/ 771550 h 771550"/>
              <a:gd name="connsiteX4" fmla="*/ 0 w 6336704"/>
              <a:gd name="connsiteY4" fmla="*/ 0 h 771550"/>
              <a:gd name="connsiteX0" fmla="*/ 704427 w 6336704"/>
              <a:gd name="connsiteY0" fmla="*/ 0 h 778324"/>
              <a:gd name="connsiteX1" fmla="*/ 6336704 w 6336704"/>
              <a:gd name="connsiteY1" fmla="*/ 6774 h 778324"/>
              <a:gd name="connsiteX2" fmla="*/ 6336704 w 6336704"/>
              <a:gd name="connsiteY2" fmla="*/ 778324 h 778324"/>
              <a:gd name="connsiteX3" fmla="*/ 0 w 6336704"/>
              <a:gd name="connsiteY3" fmla="*/ 778324 h 778324"/>
              <a:gd name="connsiteX4" fmla="*/ 704427 w 6336704"/>
              <a:gd name="connsiteY4" fmla="*/ 0 h 778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36704" h="778324">
                <a:moveTo>
                  <a:pt x="704427" y="0"/>
                </a:moveTo>
                <a:lnTo>
                  <a:pt x="6336704" y="6774"/>
                </a:lnTo>
                <a:lnTo>
                  <a:pt x="6336704" y="778324"/>
                </a:lnTo>
                <a:lnTo>
                  <a:pt x="0" y="778324"/>
                </a:lnTo>
                <a:lnTo>
                  <a:pt x="704427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 dirty="0"/>
          </a:p>
        </p:txBody>
      </p:sp>
      <p:sp>
        <p:nvSpPr>
          <p:cNvPr id="12293" name="TextBox 34"/>
          <p:cNvSpPr txBox="1">
            <a:spLocks noChangeArrowheads="1"/>
          </p:cNvSpPr>
          <p:nvPr/>
        </p:nvSpPr>
        <p:spPr bwMode="auto">
          <a:xfrm>
            <a:off x="630238" y="276225"/>
            <a:ext cx="1587500" cy="63182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7923" tIns="38962" rIns="77923" bIns="38962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ru-RU" altLang="ru-RU" sz="900">
                <a:solidFill>
                  <a:srgbClr val="333333"/>
                </a:solidFill>
                <a:latin typeface="Arial" charset="0"/>
              </a:rPr>
              <a:t>Департамент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kumimoji="0" lang="ru-RU" altLang="ru-RU" sz="900">
                <a:solidFill>
                  <a:srgbClr val="333333"/>
                </a:solidFill>
                <a:latin typeface="Arial" charset="0"/>
              </a:rPr>
              <a:t>государственной службы занятости населения Ярославской области </a:t>
            </a:r>
          </a:p>
        </p:txBody>
      </p:sp>
      <p:sp>
        <p:nvSpPr>
          <p:cNvPr id="70" name="Прямоугольник 2"/>
          <p:cNvSpPr/>
          <p:nvPr/>
        </p:nvSpPr>
        <p:spPr>
          <a:xfrm>
            <a:off x="2251075" y="92075"/>
            <a:ext cx="6892925" cy="960438"/>
          </a:xfrm>
          <a:custGeom>
            <a:avLst/>
            <a:gdLst>
              <a:gd name="connsiteX0" fmla="*/ 0 w 6336704"/>
              <a:gd name="connsiteY0" fmla="*/ 0 h 771550"/>
              <a:gd name="connsiteX1" fmla="*/ 6336704 w 6336704"/>
              <a:gd name="connsiteY1" fmla="*/ 0 h 771550"/>
              <a:gd name="connsiteX2" fmla="*/ 6336704 w 6336704"/>
              <a:gd name="connsiteY2" fmla="*/ 771550 h 771550"/>
              <a:gd name="connsiteX3" fmla="*/ 0 w 6336704"/>
              <a:gd name="connsiteY3" fmla="*/ 771550 h 771550"/>
              <a:gd name="connsiteX4" fmla="*/ 0 w 6336704"/>
              <a:gd name="connsiteY4" fmla="*/ 0 h 771550"/>
              <a:gd name="connsiteX0" fmla="*/ 704427 w 6336704"/>
              <a:gd name="connsiteY0" fmla="*/ 0 h 778324"/>
              <a:gd name="connsiteX1" fmla="*/ 6336704 w 6336704"/>
              <a:gd name="connsiteY1" fmla="*/ 6774 h 778324"/>
              <a:gd name="connsiteX2" fmla="*/ 6336704 w 6336704"/>
              <a:gd name="connsiteY2" fmla="*/ 778324 h 778324"/>
              <a:gd name="connsiteX3" fmla="*/ 0 w 6336704"/>
              <a:gd name="connsiteY3" fmla="*/ 778324 h 778324"/>
              <a:gd name="connsiteX4" fmla="*/ 704427 w 6336704"/>
              <a:gd name="connsiteY4" fmla="*/ 0 h 778324"/>
              <a:gd name="connsiteX0" fmla="*/ 666106 w 6298383"/>
              <a:gd name="connsiteY0" fmla="*/ 0 h 778324"/>
              <a:gd name="connsiteX1" fmla="*/ 6298383 w 6298383"/>
              <a:gd name="connsiteY1" fmla="*/ 6774 h 778324"/>
              <a:gd name="connsiteX2" fmla="*/ 6298383 w 6298383"/>
              <a:gd name="connsiteY2" fmla="*/ 778324 h 778324"/>
              <a:gd name="connsiteX3" fmla="*/ 0 w 6298383"/>
              <a:gd name="connsiteY3" fmla="*/ 778324 h 778324"/>
              <a:gd name="connsiteX4" fmla="*/ 666106 w 6298383"/>
              <a:gd name="connsiteY4" fmla="*/ 0 h 778324"/>
              <a:gd name="connsiteX0" fmla="*/ 643114 w 6275391"/>
              <a:gd name="connsiteY0" fmla="*/ 0 h 778324"/>
              <a:gd name="connsiteX1" fmla="*/ 6275391 w 6275391"/>
              <a:gd name="connsiteY1" fmla="*/ 6774 h 778324"/>
              <a:gd name="connsiteX2" fmla="*/ 6275391 w 6275391"/>
              <a:gd name="connsiteY2" fmla="*/ 778324 h 778324"/>
              <a:gd name="connsiteX3" fmla="*/ 0 w 6275391"/>
              <a:gd name="connsiteY3" fmla="*/ 774206 h 778324"/>
              <a:gd name="connsiteX4" fmla="*/ 643114 w 6275391"/>
              <a:gd name="connsiteY4" fmla="*/ 0 h 778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75391" h="778324">
                <a:moveTo>
                  <a:pt x="643114" y="0"/>
                </a:moveTo>
                <a:lnTo>
                  <a:pt x="6275391" y="6774"/>
                </a:lnTo>
                <a:lnTo>
                  <a:pt x="6275391" y="778324"/>
                </a:lnTo>
                <a:lnTo>
                  <a:pt x="0" y="774206"/>
                </a:lnTo>
                <a:lnTo>
                  <a:pt x="643114" y="0"/>
                </a:lnTo>
                <a:close/>
              </a:path>
            </a:pathLst>
          </a:custGeom>
          <a:gradFill flip="none" rotWithShape="1">
            <a:gsLst>
              <a:gs pos="28000">
                <a:srgbClr val="006666"/>
              </a:gs>
              <a:gs pos="81000">
                <a:srgbClr val="009999"/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ru-RU" dirty="0"/>
          </a:p>
        </p:txBody>
      </p:sp>
      <p:sp>
        <p:nvSpPr>
          <p:cNvPr id="12295" name="Прямоугольник 101"/>
          <p:cNvSpPr>
            <a:spLocks noChangeArrowheads="1"/>
          </p:cNvSpPr>
          <p:nvPr/>
        </p:nvSpPr>
        <p:spPr bwMode="auto">
          <a:xfrm>
            <a:off x="2681288" y="188913"/>
            <a:ext cx="6373812" cy="446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8" tIns="45719" rIns="91438" bIns="45719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kumimoji="0" lang="ru-RU" altLang="ru-RU" sz="2300" b="1">
                <a:solidFill>
                  <a:schemeClr val="bg1"/>
                </a:solidFill>
                <a:latin typeface="Arial" charset="0"/>
              </a:rPr>
              <a:t>За 9 месяцев 2020 года: </a:t>
            </a:r>
          </a:p>
        </p:txBody>
      </p:sp>
      <p:pic>
        <p:nvPicPr>
          <p:cNvPr id="12296" name="Рисунок 6" descr="gerb1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438" y="44450"/>
            <a:ext cx="376237" cy="898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7" name="TextBox 5"/>
          <p:cNvSpPr txBox="1">
            <a:spLocks noChangeArrowheads="1"/>
          </p:cNvSpPr>
          <p:nvPr/>
        </p:nvSpPr>
        <p:spPr bwMode="auto">
          <a:xfrm>
            <a:off x="8586788" y="6423025"/>
            <a:ext cx="630237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8" tIns="45719" rIns="91438" bIns="45719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500">
                <a:latin typeface="Arial" charset="0"/>
              </a:rPr>
              <a:t>6</a:t>
            </a:r>
          </a:p>
        </p:txBody>
      </p:sp>
      <p:sp>
        <p:nvSpPr>
          <p:cNvPr id="12298" name="Прямоугольник 2"/>
          <p:cNvSpPr>
            <a:spLocks noChangeArrowheads="1"/>
          </p:cNvSpPr>
          <p:nvPr/>
        </p:nvSpPr>
        <p:spPr bwMode="auto">
          <a:xfrm>
            <a:off x="1219200" y="1341438"/>
            <a:ext cx="7456488" cy="229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8" tIns="45719" rIns="91438" bIns="45719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spcAft>
                <a:spcPts val="3000"/>
              </a:spcAft>
              <a:buFontTx/>
              <a:buNone/>
            </a:pPr>
            <a:r>
              <a:rPr lang="ru-RU" altLang="ru-RU" sz="1700" b="1">
                <a:latin typeface="Arial" charset="0"/>
              </a:rPr>
              <a:t>За содействием в поиске работы обратились 344 выпускника ПОО</a:t>
            </a:r>
          </a:p>
          <a:p>
            <a:pPr>
              <a:spcBef>
                <a:spcPct val="0"/>
              </a:spcBef>
              <a:spcAft>
                <a:spcPts val="3000"/>
              </a:spcAft>
              <a:buFontTx/>
              <a:buNone/>
            </a:pPr>
            <a:r>
              <a:rPr lang="ru-RU" altLang="ru-RU" sz="1700" b="1">
                <a:latin typeface="Arial" charset="0"/>
              </a:rPr>
              <a:t>Зарегистрированы в качестве безработных 202 выпускника ПОО</a:t>
            </a:r>
          </a:p>
          <a:p>
            <a:pPr>
              <a:spcBef>
                <a:spcPct val="0"/>
              </a:spcBef>
              <a:spcAft>
                <a:spcPts val="3000"/>
              </a:spcAft>
              <a:buFontTx/>
              <a:buNone/>
            </a:pPr>
            <a:r>
              <a:rPr lang="ru-RU" altLang="ru-RU" sz="1700" b="1">
                <a:latin typeface="Arial" charset="0"/>
              </a:rPr>
              <a:t>Трудоустроен 81 человек (уровень трудоустройства около 24%)</a:t>
            </a:r>
          </a:p>
          <a:p>
            <a:pPr>
              <a:spcBef>
                <a:spcPct val="0"/>
              </a:spcBef>
              <a:spcAft>
                <a:spcPts val="3000"/>
              </a:spcAft>
              <a:buFontTx/>
              <a:buNone/>
            </a:pPr>
            <a:r>
              <a:rPr lang="ru-RU" altLang="ru-RU" sz="1700" b="1">
                <a:latin typeface="Arial" charset="0"/>
              </a:rPr>
              <a:t>На 01.10.2020 состоял на учете 221 выпускник ПОО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900113" y="1268413"/>
            <a:ext cx="0" cy="224155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вал 12"/>
          <p:cNvSpPr/>
          <p:nvPr/>
        </p:nvSpPr>
        <p:spPr>
          <a:xfrm>
            <a:off x="727075" y="1268413"/>
            <a:ext cx="360363" cy="360362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25" name="Овал 24"/>
          <p:cNvSpPr/>
          <p:nvPr/>
        </p:nvSpPr>
        <p:spPr>
          <a:xfrm>
            <a:off x="696913" y="1952625"/>
            <a:ext cx="360362" cy="360363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26" name="Овал 25"/>
          <p:cNvSpPr/>
          <p:nvPr/>
        </p:nvSpPr>
        <p:spPr>
          <a:xfrm>
            <a:off x="720725" y="2625725"/>
            <a:ext cx="360363" cy="36195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696913" y="3328988"/>
            <a:ext cx="360362" cy="36195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 eaLnBrk="0" hangingPunct="0">
              <a:defRPr/>
            </a:pPr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574675" y="4076700"/>
            <a:ext cx="7813675" cy="184626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>
              <a:buClr>
                <a:srgbClr val="A50021"/>
              </a:buClr>
              <a:defRPr/>
            </a:pPr>
            <a:r>
              <a:rPr lang="ru-RU" sz="1600" b="1" i="1" dirty="0">
                <a:solidFill>
                  <a:srgbClr val="002060"/>
                </a:solidFill>
              </a:rPr>
              <a:t>Выпускникам ПОО оказаны государственные услуги в сфере занятости населения:</a:t>
            </a:r>
          </a:p>
          <a:p>
            <a:pPr marL="285750" indent="-285750">
              <a:buClr>
                <a:srgbClr val="A50021"/>
              </a:buClr>
              <a:buFont typeface="Wingdings" panose="05000000000000000000" pitchFamily="2" charset="2"/>
              <a:buChar char="q"/>
              <a:defRPr/>
            </a:pPr>
            <a:r>
              <a:rPr lang="ru-RU" sz="1600" b="1" dirty="0">
                <a:solidFill>
                  <a:srgbClr val="002060"/>
                </a:solidFill>
              </a:rPr>
              <a:t>Профессиональная ориентация – 173 человека</a:t>
            </a:r>
          </a:p>
          <a:p>
            <a:pPr marL="285750" indent="-285750">
              <a:buClr>
                <a:srgbClr val="A50021"/>
              </a:buClr>
              <a:buFont typeface="Wingdings" panose="05000000000000000000" pitchFamily="2" charset="2"/>
              <a:buChar char="q"/>
              <a:defRPr/>
            </a:pPr>
            <a:r>
              <a:rPr lang="ru-RU" sz="1600" b="1" dirty="0">
                <a:solidFill>
                  <a:srgbClr val="002060"/>
                </a:solidFill>
              </a:rPr>
              <a:t>Психологическая поддержка безработных граждан – 14 человек</a:t>
            </a:r>
          </a:p>
          <a:p>
            <a:pPr marL="285750" indent="-285750">
              <a:buClr>
                <a:srgbClr val="A50021"/>
              </a:buClr>
              <a:buFont typeface="Wingdings" panose="05000000000000000000" pitchFamily="2" charset="2"/>
              <a:buChar char="q"/>
              <a:defRPr/>
            </a:pPr>
            <a:r>
              <a:rPr lang="ru-RU" sz="1600" b="1" dirty="0">
                <a:solidFill>
                  <a:srgbClr val="002060"/>
                </a:solidFill>
              </a:rPr>
              <a:t>Социальная  адаптации безработных граждан – 21 человек</a:t>
            </a:r>
          </a:p>
          <a:p>
            <a:pPr marL="285750" indent="-285750">
              <a:buClr>
                <a:srgbClr val="A50021"/>
              </a:buClr>
              <a:buFont typeface="Wingdings" panose="05000000000000000000" pitchFamily="2" charset="2"/>
              <a:buChar char="q"/>
              <a:defRPr/>
            </a:pPr>
            <a:r>
              <a:rPr lang="ru-RU" sz="1600" b="1" dirty="0">
                <a:solidFill>
                  <a:srgbClr val="002060"/>
                </a:solidFill>
              </a:rPr>
              <a:t>Приступили к профессиональному обучению, получению дополнительного профессионального образования – 40 человек.</a:t>
            </a:r>
          </a:p>
          <a:p>
            <a:pPr marL="285750" indent="-285750">
              <a:buClr>
                <a:srgbClr val="A50021"/>
              </a:buClr>
              <a:buFont typeface="Wingdings" panose="05000000000000000000" pitchFamily="2" charset="2"/>
              <a:buChar char="q"/>
              <a:defRPr/>
            </a:pPr>
            <a:endParaRPr lang="ru-RU" b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ransition spd="slow">
    <p:strips dir="ld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Прямоугольник 19"/>
          <p:cNvSpPr>
            <a:spLocks noChangeArrowheads="1"/>
          </p:cNvSpPr>
          <p:nvPr/>
        </p:nvSpPr>
        <p:spPr bwMode="auto">
          <a:xfrm>
            <a:off x="2916238" y="115888"/>
            <a:ext cx="554355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ru-RU" altLang="ru-RU" sz="2000" b="1">
                <a:solidFill>
                  <a:srgbClr val="A50021"/>
                </a:solidFill>
              </a:rPr>
              <a:t>Меры, принимаемые в целях трудоустройства выпускников  профессиональных образовательных организаций</a:t>
            </a:r>
          </a:p>
        </p:txBody>
      </p:sp>
      <p:sp>
        <p:nvSpPr>
          <p:cNvPr id="13315" name="Номер слайда 9"/>
          <p:cNvSpPr>
            <a:spLocks noGrp="1"/>
          </p:cNvSpPr>
          <p:nvPr>
            <p:ph type="sldNum" sz="quarter" idx="10"/>
          </p:nvPr>
        </p:nvSpPr>
        <p:spPr bwMode="auto">
          <a:xfrm>
            <a:off x="8388350" y="6594475"/>
            <a:ext cx="457200" cy="3635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kumimoji="0" lang="ru-RU" altLang="ru-RU" sz="1000" smtClean="0">
                <a:solidFill>
                  <a:srgbClr val="990000"/>
                </a:solidFill>
                <a:latin typeface="Arial" charset="0"/>
              </a:rPr>
              <a:t>7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kumimoji="0" lang="ru-RU" altLang="ru-RU" smtClean="0">
              <a:solidFill>
                <a:srgbClr val="990000"/>
              </a:solidFill>
              <a:latin typeface="Arial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23850" y="1341438"/>
            <a:ext cx="5903913" cy="1014412"/>
          </a:xfrm>
          <a:prstGeom prst="rect">
            <a:avLst/>
          </a:prstGeom>
        </p:spPr>
        <p:style>
          <a:lnRef idx="2">
            <a:schemeClr val="accent1"/>
          </a:lnRef>
          <a:fillRef idx="1001">
            <a:schemeClr val="lt2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342900" indent="-3429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b="1" dirty="0">
                <a:solidFill>
                  <a:schemeClr val="tx2"/>
                </a:solidFill>
              </a:rPr>
              <a:t>Взаимодействие  с работодателями области с целью наполнения банка вакантных рабочих мест </a:t>
            </a:r>
            <a:endParaRPr lang="ru-RU" sz="2000" dirty="0">
              <a:solidFill>
                <a:schemeClr val="tx2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732588" y="1196975"/>
            <a:ext cx="2087562" cy="1830388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lang="ru-RU" sz="1350" dirty="0"/>
              <a:t>1,9 тыс. рабочих мест для трудоустройства без  требования к опыту работы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r>
              <a:rPr lang="ru-RU" sz="1350" dirty="0"/>
              <a:t>Около 100 вакансий для организации стажировки</a:t>
            </a:r>
          </a:p>
          <a:p>
            <a:pPr marL="285750" indent="-285750">
              <a:spcAft>
                <a:spcPts val="300"/>
              </a:spcAft>
              <a:buFont typeface="Wingdings" panose="05000000000000000000" pitchFamily="2" charset="2"/>
              <a:buChar char="Ø"/>
              <a:defRPr/>
            </a:pPr>
            <a:endParaRPr lang="ru-RU" sz="135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95288" y="2584450"/>
            <a:ext cx="5832475" cy="584200"/>
          </a:xfrm>
          <a:prstGeom prst="rect">
            <a:avLst/>
          </a:prstGeom>
        </p:spPr>
        <p:style>
          <a:lnRef idx="2">
            <a:schemeClr val="accent1"/>
          </a:lnRef>
          <a:fillRef idx="1001">
            <a:schemeClr val="lt2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285750" indent="-285750">
              <a:spcAft>
                <a:spcPts val="300"/>
              </a:spcAft>
              <a:buClr>
                <a:srgbClr val="A50021"/>
              </a:buClr>
              <a:buFont typeface="Wingdings" panose="05000000000000000000" pitchFamily="2" charset="2"/>
              <a:buChar char="ü"/>
              <a:defRPr/>
            </a:pPr>
            <a:r>
              <a:rPr lang="ru-RU" sz="1600" dirty="0">
                <a:solidFill>
                  <a:schemeClr val="tx2"/>
                </a:solidFill>
              </a:rPr>
              <a:t>Ярмарки вакансий для рабочих мест для выпускников образовательных организаций всех уровней</a:t>
            </a:r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19" name="Стрелка вправо 18"/>
          <p:cNvSpPr/>
          <p:nvPr/>
        </p:nvSpPr>
        <p:spPr>
          <a:xfrm>
            <a:off x="6408738" y="1438275"/>
            <a:ext cx="179387" cy="288925"/>
          </a:xfrm>
          <a:prstGeom prst="rightArrow">
            <a:avLst/>
          </a:prstGeom>
          <a:solidFill>
            <a:srgbClr val="A50021"/>
          </a:solidFill>
          <a:ln>
            <a:solidFill>
              <a:srgbClr val="A500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468313" y="3500438"/>
            <a:ext cx="5759450" cy="831850"/>
          </a:xfrm>
          <a:prstGeom prst="rect">
            <a:avLst/>
          </a:prstGeom>
        </p:spPr>
        <p:style>
          <a:lnRef idx="2">
            <a:schemeClr val="accent1"/>
          </a:lnRef>
          <a:fillRef idx="1001">
            <a:schemeClr val="lt2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marL="342900" indent="-342900">
              <a:spcAft>
                <a:spcPts val="300"/>
              </a:spcAft>
              <a:buClr>
                <a:srgbClr val="A50021"/>
              </a:buClr>
              <a:buFont typeface="Wingdings" panose="05000000000000000000" pitchFamily="2" charset="2"/>
              <a:buChar char="ü"/>
              <a:defRPr/>
            </a:pPr>
            <a:r>
              <a:rPr lang="ru-RU" sz="1600" dirty="0">
                <a:solidFill>
                  <a:schemeClr val="tx2"/>
                </a:solidFill>
              </a:rPr>
              <a:t>Встречи с выпускниками и будущими выпускниками колледжей, техникумов с целью информирования о ситуации на рынке труда</a:t>
            </a:r>
            <a:endParaRPr lang="ru-RU" sz="1600" dirty="0">
              <a:solidFill>
                <a:schemeClr val="tx2"/>
              </a:solidFill>
            </a:endParaRPr>
          </a:p>
        </p:txBody>
      </p:sp>
      <p:pic>
        <p:nvPicPr>
          <p:cNvPr id="12" name="Picture 2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3850" y="4652963"/>
            <a:ext cx="1993900" cy="1817687"/>
          </a:xfrm>
          <a:prstGeom prst="rect">
            <a:avLst/>
          </a:prstGeom>
          <a:ln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29313" y="4832350"/>
            <a:ext cx="1846262" cy="1458913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pic>
        <p:nvPicPr>
          <p:cNvPr id="14" name="Picture 8" descr="врем"/>
          <p:cNvPicPr>
            <a:picLocks noChangeAspect="1" noChangeArrowheads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71813" y="4503738"/>
            <a:ext cx="2376487" cy="1744662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/>
          <a:srcRect t="-2" b="3821"/>
          <a:stretch>
            <a:fillRect/>
          </a:stretch>
        </p:blipFill>
        <p:spPr bwMode="auto">
          <a:xfrm>
            <a:off x="6318250" y="3059113"/>
            <a:ext cx="2527300" cy="1474787"/>
          </a:xfrm>
          <a:prstGeom prst="rect">
            <a:avLst/>
          </a:prstGeom>
          <a:ln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</p:spTree>
  </p:cSld>
  <p:clrMapOvr>
    <a:masterClrMapping/>
  </p:clrMapOvr>
  <p:transition spd="slow" advTm="3000">
    <p:wipe dir="d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260350"/>
            <a:ext cx="1439863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39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charset="0"/>
            </a:endParaRPr>
          </a:p>
        </p:txBody>
      </p:sp>
      <p:sp>
        <p:nvSpPr>
          <p:cNvPr id="14340" name="Rectangle 1"/>
          <p:cNvSpPr>
            <a:spLocks noChangeArrowheads="1"/>
          </p:cNvSpPr>
          <p:nvPr/>
        </p:nvSpPr>
        <p:spPr bwMode="auto">
          <a:xfrm>
            <a:off x="1116013" y="482600"/>
            <a:ext cx="78486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ru-RU" altLang="ru-RU" sz="1600" b="1">
                <a:solidFill>
                  <a:srgbClr val="990000"/>
                </a:solidFill>
                <a:latin typeface="Arial" charset="0"/>
              </a:rPr>
              <a:t>Портал «Работа в России» - </a:t>
            </a:r>
            <a:r>
              <a:rPr lang="ru-RU" altLang="ru-RU" sz="1400" b="1">
                <a:solidFill>
                  <a:srgbClr val="990000"/>
                </a:solidFill>
                <a:latin typeface="Arial" charset="0"/>
              </a:rPr>
              <a:t>современный инструмент для поиска работы</a:t>
            </a:r>
            <a:endParaRPr lang="ru-RU" altLang="ru-RU" sz="1400" b="1">
              <a:solidFill>
                <a:srgbClr val="99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14341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charset="0"/>
            </a:endParaRPr>
          </a:p>
        </p:txBody>
      </p:sp>
      <p:sp>
        <p:nvSpPr>
          <p:cNvPr id="14342" name="Rectangle 9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charset="0"/>
            </a:endParaRPr>
          </a:p>
        </p:txBody>
      </p:sp>
      <p:sp>
        <p:nvSpPr>
          <p:cNvPr id="14343" name="Rectangle 1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charset="0"/>
            </a:endParaRPr>
          </a:p>
        </p:txBody>
      </p:sp>
      <p:sp>
        <p:nvSpPr>
          <p:cNvPr id="14344" name="Rectangle 1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kumimoji="1" sz="32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kumimoji="1" sz="28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>
              <a:latin typeface="Arial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3850" y="1052513"/>
            <a:ext cx="8569325" cy="5329237"/>
          </a:xfrm>
          <a:prstGeom prst="rect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4346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88" y="1052513"/>
            <a:ext cx="7993062" cy="542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strips dir="ld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8856</TotalTime>
  <Words>750</Words>
  <Application>Microsoft Office PowerPoint</Application>
  <PresentationFormat>Экран (4:3)</PresentationFormat>
  <Paragraphs>162</Paragraphs>
  <Slides>11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9" baseType="lpstr">
      <vt:lpstr>Calibri</vt:lpstr>
      <vt:lpstr>Arial</vt:lpstr>
      <vt:lpstr>Wingdings 3</vt:lpstr>
      <vt:lpstr>Times New Roman</vt:lpstr>
      <vt:lpstr>Wingdings</vt:lpstr>
      <vt:lpstr>3_Тема Office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лескевич Сергей Александрович</dc:creator>
  <cp:lastModifiedBy>Наталья Вячеславовна Кузнецова</cp:lastModifiedBy>
  <cp:revision>1859</cp:revision>
  <cp:lastPrinted>2019-09-05T15:28:47Z</cp:lastPrinted>
  <dcterms:created xsi:type="dcterms:W3CDTF">2017-01-20T08:02:32Z</dcterms:created>
  <dcterms:modified xsi:type="dcterms:W3CDTF">2020-10-20T06:23:17Z</dcterms:modified>
</cp:coreProperties>
</file>